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808" r:id="rId5"/>
  </p:sldMasterIdLst>
  <p:notesMasterIdLst>
    <p:notesMasterId r:id="rId9"/>
  </p:notesMasterIdLst>
  <p:sldIdLst>
    <p:sldId id="2145706494" r:id="rId6"/>
    <p:sldId id="2145706629" r:id="rId7"/>
    <p:sldId id="2145706630" r:id="rId8"/>
  </p:sldIdLst>
  <p:sldSz cx="9144000" cy="5143500" type="screen16x9"/>
  <p:notesSz cx="7315200" cy="9601200"/>
  <p:embeddedFontLst>
    <p:embeddedFont>
      <p:font typeface="Calibri" panose="020F0502020204030204" pitchFamily="34" charset="0"/>
      <p:regular r:id="rId10"/>
      <p:bold r:id="rId11"/>
      <p:italic r:id="rId12"/>
      <p:boldItalic r:id="rId13"/>
    </p:embeddedFont>
    <p:embeddedFont>
      <p:font typeface="Myriad Web Pro" panose="020B0604020202020204" charset="0"/>
      <p:regular r:id="rId14"/>
      <p:bold r:id="rId15"/>
      <p:italic r:id="rId16"/>
      <p:boldItalic r:id="rId17"/>
    </p:embeddedFont>
  </p:embeddedFontLst>
  <p:custDataLst>
    <p:tags r:id="rId18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Myriad Web Pro" panose="020B0503030403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Myriad Web Pro" panose="020B0503030403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Myriad Web Pro" panose="020B0503030403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Myriad Web Pro" panose="020B0503030403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Myriad Web Pro" panose="020B0503030403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Myriad Web Pro" panose="020B0503030403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Myriad Web Pro" panose="020B0503030403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Myriad Web Pro" panose="020B0503030403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Myriad Web Pro" panose="020B0503030403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9" name="Lansky, Amy (CDC/OD/OADPS)" initials="L(" lastIdx="5" clrIdx="28">
    <p:extLst>
      <p:ext uri="{19B8F6BF-5375-455C-9EA6-DF929625EA0E}">
        <p15:presenceInfo xmlns:p15="http://schemas.microsoft.com/office/powerpoint/2012/main" userId="S::all0@cdc.gov::6e3abe26-10d8-4ea8-aa08-a9b583b63dc1" providerId="AD"/>
      </p:ext>
    </p:extLst>
  </p:cmAuthor>
  <p:cmAuthor id="1" name="Jiles, Angela (CDC/DDID/NCIRD/DBD)" initials="J(" lastIdx="8" clrIdx="0">
    <p:extLst>
      <p:ext uri="{19B8F6BF-5375-455C-9EA6-DF929625EA0E}">
        <p15:presenceInfo xmlns:p15="http://schemas.microsoft.com/office/powerpoint/2012/main" userId="S::avb8@cdc.gov::563e84d3-b5d9-4ee5-ae32-fff50c524b9d" providerId="AD"/>
      </p:ext>
    </p:extLst>
  </p:cmAuthor>
  <p:cmAuthor id="30" name="Daskalakis, Demetre (CDC/DDID/NCHHSTP/DHP)" initials="DD(" lastIdx="2" clrIdx="29">
    <p:extLst>
      <p:ext uri="{19B8F6BF-5375-455C-9EA6-DF929625EA0E}">
        <p15:presenceInfo xmlns:p15="http://schemas.microsoft.com/office/powerpoint/2012/main" userId="S::yzq5@cdc.gov::ad21b919-e0a7-4fb4-b7a7-f18dd0af3f80" providerId="AD"/>
      </p:ext>
    </p:extLst>
  </p:cmAuthor>
  <p:cmAuthor id="2" name="Ritchey, Matthew D. (CDC/DDPHSS/CSELS/DHIS)" initials="R(" lastIdx="16" clrIdx="1">
    <p:extLst>
      <p:ext uri="{19B8F6BF-5375-455C-9EA6-DF929625EA0E}">
        <p15:presenceInfo xmlns:p15="http://schemas.microsoft.com/office/powerpoint/2012/main" userId="S::hha7@cdc.gov::0f4ae8c8-33a3-4cd2-a525-48f17ee461ab" providerId="AD"/>
      </p:ext>
    </p:extLst>
  </p:cmAuthor>
  <p:cmAuthor id="31" name="Toney, Taraesa (CDC/DDID/NCEZID/OD) (CTR)" initials="TT((" lastIdx="1" clrIdx="30">
    <p:extLst>
      <p:ext uri="{19B8F6BF-5375-455C-9EA6-DF929625EA0E}">
        <p15:presenceInfo xmlns:p15="http://schemas.microsoft.com/office/powerpoint/2012/main" userId="S::qpe5@cdc.gov::461352ee-08a1-4677-9c6c-fe02fb8ae7d4" providerId="AD"/>
      </p:ext>
    </p:extLst>
  </p:cmAuthor>
  <p:cmAuthor id="3" name="ADS Response (mk)" initials="MK" lastIdx="6" clrIdx="2">
    <p:extLst>
      <p:ext uri="{19B8F6BF-5375-455C-9EA6-DF929625EA0E}">
        <p15:presenceInfo xmlns:p15="http://schemas.microsoft.com/office/powerpoint/2012/main" userId="ADS Response (mk)" providerId="None"/>
      </p:ext>
    </p:extLst>
  </p:cmAuthor>
  <p:cmAuthor id="4" name="CDC IMS 2019 NCOV Response Chief Health Equity" initials="CE" lastIdx="1" clrIdx="3"/>
  <p:cmAuthor id="5" name="Sara Bedrosian" initials="eri7" lastIdx="8" clrIdx="4">
    <p:extLst>
      <p:ext uri="{19B8F6BF-5375-455C-9EA6-DF929625EA0E}">
        <p15:presenceInfo xmlns:p15="http://schemas.microsoft.com/office/powerpoint/2012/main" userId="Sara Bedrosian" providerId="None"/>
      </p:ext>
    </p:extLst>
  </p:cmAuthor>
  <p:cmAuthor id="6" name="Redmon, Ginger (CDC/DDID/NCIRD/ISD)" initials="RG(" lastIdx="37" clrIdx="5">
    <p:extLst>
      <p:ext uri="{19B8F6BF-5375-455C-9EA6-DF929625EA0E}">
        <p15:presenceInfo xmlns:p15="http://schemas.microsoft.com/office/powerpoint/2012/main" userId="S::vco8@cdc.gov::50a3cade-0d7b-4259-a8c1-79d30787019e" providerId="AD"/>
      </p:ext>
    </p:extLst>
  </p:cmAuthor>
  <p:cmAuthor id="7" name="Ritchey, Matthew D. (CDC/DDPHSS/CSELS/DHIS)" initials="RMD(" lastIdx="34" clrIdx="6">
    <p:extLst>
      <p:ext uri="{19B8F6BF-5375-455C-9EA6-DF929625EA0E}">
        <p15:presenceInfo xmlns:p15="http://schemas.microsoft.com/office/powerpoint/2012/main" userId="S::hha7@cdc.gov::c262d130a8eafc1d" providerId="AD"/>
      </p:ext>
    </p:extLst>
  </p:cmAuthor>
  <p:cmAuthor id="8" name="Adams, Laura E. (CDC/DDID/NCEZID/DVBD)" initials="ALE(" lastIdx="9" clrIdx="7">
    <p:extLst>
      <p:ext uri="{19B8F6BF-5375-455C-9EA6-DF929625EA0E}">
        <p15:presenceInfo xmlns:p15="http://schemas.microsoft.com/office/powerpoint/2012/main" userId="S::IPB2@cdc.gov::a0fdb3b8-e022-407a-bfde-411165fc6256" providerId="AD"/>
      </p:ext>
    </p:extLst>
  </p:cmAuthor>
  <p:cmAuthor id="9" name="Wolkin, Amy Funk (CDC/DDNID/NCIPC/DIP)" initials="WAF(" lastIdx="9" clrIdx="8">
    <p:extLst>
      <p:ext uri="{19B8F6BF-5375-455C-9EA6-DF929625EA0E}">
        <p15:presenceInfo xmlns:p15="http://schemas.microsoft.com/office/powerpoint/2012/main" userId="S::Ajf9@cdc.gov::106f2b33-85b4-42b2-b918-f14169411abb" providerId="AD"/>
      </p:ext>
    </p:extLst>
  </p:cmAuthor>
  <p:cmAuthor id="10" name="Williams, Paula O. (CDC/DDPHSS/CSELS/OD)" initials="WPO(" lastIdx="24" clrIdx="9">
    <p:extLst>
      <p:ext uri="{19B8F6BF-5375-455C-9EA6-DF929625EA0E}">
        <p15:presenceInfo xmlns:p15="http://schemas.microsoft.com/office/powerpoint/2012/main" userId="S::gvc0@cdc.gov::74054436-8995-4816-b6f8-75d610612a07" providerId="AD"/>
      </p:ext>
    </p:extLst>
  </p:cmAuthor>
  <p:cmAuthor id="11" name="Dee, Deborah L. (CDC/OCOO/HRO)" initials="D(" lastIdx="1" clrIdx="10">
    <p:extLst>
      <p:ext uri="{19B8F6BF-5375-455C-9EA6-DF929625EA0E}">
        <p15:presenceInfo xmlns:p15="http://schemas.microsoft.com/office/powerpoint/2012/main" userId="S::gdq7@cdc.gov::45a19cc5-d5b8-480f-8a6b-4b1bd2989454" providerId="AD"/>
      </p:ext>
    </p:extLst>
  </p:cmAuthor>
  <p:cmAuthor id="12" name="Cassell, Cynthia H. (CDC/DDPHSIS/CGH/DGHP)" initials="C(" lastIdx="166" clrIdx="11">
    <p:extLst>
      <p:ext uri="{19B8F6BF-5375-455C-9EA6-DF929625EA0E}">
        <p15:presenceInfo xmlns:p15="http://schemas.microsoft.com/office/powerpoint/2012/main" userId="S::ivv7@cdc.gov::a3eddfc9-ff3b-428d-a0c3-e40408ab47f5" providerId="AD"/>
      </p:ext>
    </p:extLst>
  </p:cmAuthor>
  <p:cmAuthor id="13" name="Sheppard, Michael (CDC/DDPHSS/CSELS/DHIS)" initials="SM(" lastIdx="6" clrIdx="12">
    <p:extLst>
      <p:ext uri="{19B8F6BF-5375-455C-9EA6-DF929625EA0E}">
        <p15:presenceInfo xmlns:p15="http://schemas.microsoft.com/office/powerpoint/2012/main" userId="S::oul2@cdc.gov::293f1e6f-f3f4-4a79-a9e2-900cd7f27fa5" providerId="AD"/>
      </p:ext>
    </p:extLst>
  </p:cmAuthor>
  <p:cmAuthor id="14" name="Devies, Jourdan (CDC/DDPHSS/CSELS/DHIS)" initials="D(" lastIdx="6" clrIdx="13">
    <p:extLst>
      <p:ext uri="{19B8F6BF-5375-455C-9EA6-DF929625EA0E}">
        <p15:presenceInfo xmlns:p15="http://schemas.microsoft.com/office/powerpoint/2012/main" userId="S::pwp9@cdc.gov::b7c647b9-aa7a-41f2-82bd-6abb80aa2d39" providerId="AD"/>
      </p:ext>
    </p:extLst>
  </p:cmAuthor>
  <p:cmAuthor id="15" name="Newton, Anna E. (CDC/DDID/NCEZID/DFWED)" initials="AEN" lastIdx="63" clrIdx="14">
    <p:extLst>
      <p:ext uri="{19B8F6BF-5375-455C-9EA6-DF929625EA0E}">
        <p15:presenceInfo xmlns:p15="http://schemas.microsoft.com/office/powerpoint/2012/main" userId="Newton, Anna E. (CDC/DDID/NCEZID/DFWED)" providerId="None"/>
      </p:ext>
    </p:extLst>
  </p:cmAuthor>
  <p:cmAuthor id="16" name="Lyons, Brianna (CDC/DDID/NCIRD/ID)" initials="LB(" lastIdx="11" clrIdx="15">
    <p:extLst>
      <p:ext uri="{19B8F6BF-5375-455C-9EA6-DF929625EA0E}">
        <p15:presenceInfo xmlns:p15="http://schemas.microsoft.com/office/powerpoint/2012/main" userId="S::qsx5@cdc.gov::6a5f7f47-2f13-4adb-a53b-5df8e6e54468" providerId="AD"/>
      </p:ext>
    </p:extLst>
  </p:cmAuthor>
  <p:cmAuthor id="17" name="Del Guercio, Kim Lu (CDC/DDPHSS/OD) (CTR)" initials="D(" lastIdx="1" clrIdx="16">
    <p:extLst>
      <p:ext uri="{19B8F6BF-5375-455C-9EA6-DF929625EA0E}">
        <p15:presenceInfo xmlns:p15="http://schemas.microsoft.com/office/powerpoint/2012/main" userId="S::uwx1@cdc.gov::95e84b31-f30f-4e88-b7d7-b90c3d8e7ec4" providerId="AD"/>
      </p:ext>
    </p:extLst>
  </p:cmAuthor>
  <p:cmAuthor id="18" name="Fullerton, Katie (CDC/DDID/NCEZID/DFWED)" initials="F(" lastIdx="1" clrIdx="17">
    <p:extLst>
      <p:ext uri="{19B8F6BF-5375-455C-9EA6-DF929625EA0E}">
        <p15:presenceInfo xmlns:p15="http://schemas.microsoft.com/office/powerpoint/2012/main" userId="S::kgf9@cdc.gov::599813af-ce4d-4edc-ac58-fd5309e0a137" providerId="AD"/>
      </p:ext>
    </p:extLst>
  </p:cmAuthor>
  <p:cmAuthor id="19" name="Newton, Anna E. (CDC/DDID/NCEZID/DFWED)" initials="N(" lastIdx="17" clrIdx="18">
    <p:extLst>
      <p:ext uri="{19B8F6BF-5375-455C-9EA6-DF929625EA0E}">
        <p15:presenceInfo xmlns:p15="http://schemas.microsoft.com/office/powerpoint/2012/main" userId="S::ivz9@cdc.gov::a1475fa3-64f3-4cd8-99f7-a87e49aab5df" providerId="AD"/>
      </p:ext>
    </p:extLst>
  </p:cmAuthor>
  <p:cmAuthor id="20" name="Whitham, Hilary (CDC/DDID/NCEZID/DFWED)" initials="W(" lastIdx="16" clrIdx="19">
    <p:extLst>
      <p:ext uri="{19B8F6BF-5375-455C-9EA6-DF929625EA0E}">
        <p15:presenceInfo xmlns:p15="http://schemas.microsoft.com/office/powerpoint/2012/main" userId="S::kqq7@cdc.gov::69e7d12c-92d8-40e5-9892-092c84903f57" providerId="AD"/>
      </p:ext>
    </p:extLst>
  </p:cmAuthor>
  <p:cmAuthor id="21" name="Dias, Taylor (CDC/DDPHSS/CSELS/DHIS) (CTR)" initials="D(" lastIdx="1" clrIdx="20">
    <p:extLst>
      <p:ext uri="{19B8F6BF-5375-455C-9EA6-DF929625EA0E}">
        <p15:presenceInfo xmlns:p15="http://schemas.microsoft.com/office/powerpoint/2012/main" userId="S::oui0@cdc.gov::731ce0ba-2e3d-4342-83c1-2e03c50cf6e6" providerId="AD"/>
      </p:ext>
    </p:extLst>
  </p:cmAuthor>
  <p:cmAuthor id="22" name="Yoon, Paula (CDC/DDPHSS/CSELS/DHIS)" initials="YP(" lastIdx="11" clrIdx="21">
    <p:extLst>
      <p:ext uri="{19B8F6BF-5375-455C-9EA6-DF929625EA0E}">
        <p15:presenceInfo xmlns:p15="http://schemas.microsoft.com/office/powerpoint/2012/main" userId="S::pay3@cdc.gov::4dbbe5f4-6654-4f88-810d-5751db651231" providerId="AD"/>
      </p:ext>
    </p:extLst>
  </p:cmAuthor>
  <p:cmAuthor id="23" name="Beard, Charles (Ben) (CDC/DDID/NCEZID/DVBD)" initials="BC((" lastIdx="8" clrIdx="22">
    <p:extLst>
      <p:ext uri="{19B8F6BF-5375-455C-9EA6-DF929625EA0E}">
        <p15:presenceInfo xmlns:p15="http://schemas.microsoft.com/office/powerpoint/2012/main" userId="S::cbb0@cdc.gov::65dc45f8-1db8-44a4-a43f-a335a80484a8" providerId="AD"/>
      </p:ext>
    </p:extLst>
  </p:cmAuthor>
  <p:cmAuthor id="24" name="Self, Julie Lynn (CDC/DDID/NCHHSTP/DTE)" initials="SJL(" lastIdx="19" clrIdx="23">
    <p:extLst>
      <p:ext uri="{19B8F6BF-5375-455C-9EA6-DF929625EA0E}">
        <p15:presenceInfo xmlns:p15="http://schemas.microsoft.com/office/powerpoint/2012/main" userId="S::yxj9@cdc.gov::b0c15203-d06e-4f8a-93be-4cafda4cc0aa" providerId="AD"/>
      </p:ext>
    </p:extLst>
  </p:cmAuthor>
  <p:cmAuthor id="25" name="Jones, Christine (CDC/DDPHSS/NCHS/OD)" initials="J(" lastIdx="77" clrIdx="24">
    <p:extLst>
      <p:ext uri="{19B8F6BF-5375-455C-9EA6-DF929625EA0E}">
        <p15:presenceInfo xmlns:p15="http://schemas.microsoft.com/office/powerpoint/2012/main" userId="S::lny6@cdc.gov::6be651d3-385e-48eb-a3bf-0268c2560cc3" providerId="AD"/>
      </p:ext>
    </p:extLst>
  </p:cmAuthor>
  <p:cmAuthor id="26" name="Marshall, Katherine E. (CDC/DDID/NCEZID/DFWED)" initials="M(" lastIdx="15" clrIdx="25">
    <p:extLst>
      <p:ext uri="{19B8F6BF-5375-455C-9EA6-DF929625EA0E}">
        <p15:presenceInfo xmlns:p15="http://schemas.microsoft.com/office/powerpoint/2012/main" userId="S::uwj0@cdc.gov::6e7204ac-36c4-4da9-8340-410cad48828f" providerId="AD"/>
      </p:ext>
    </p:extLst>
  </p:cmAuthor>
  <p:cmAuthor id="27" name="Kite Powell, Aaron (CDC/DDPHSS/CSELS/DHIS)" initials="K(" lastIdx="1" clrIdx="26">
    <p:extLst>
      <p:ext uri="{19B8F6BF-5375-455C-9EA6-DF929625EA0E}">
        <p15:presenceInfo xmlns:p15="http://schemas.microsoft.com/office/powerpoint/2012/main" userId="S::lyv8@cdc.gov::1fa9d1fb-f5a6-48cc-b687-4d23ddc654e4" providerId="AD"/>
      </p:ext>
    </p:extLst>
  </p:cmAuthor>
  <p:cmAuthor id="28" name="Natarajan, Poorna (CDC/DDID/NCEZID/DPEI) (CTR)" initials="N(" lastIdx="1" clrIdx="27">
    <p:extLst>
      <p:ext uri="{19B8F6BF-5375-455C-9EA6-DF929625EA0E}">
        <p15:presenceInfo xmlns:p15="http://schemas.microsoft.com/office/powerpoint/2012/main" userId="S::qlr7@cdc.gov::cda627ec-9ab0-4323-add2-c4e2d88524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F56DC"/>
    <a:srgbClr val="2D2C2C"/>
    <a:srgbClr val="2D2D2D"/>
    <a:srgbClr val="5AC8C8"/>
    <a:srgbClr val="ACE4E4"/>
    <a:srgbClr val="E8E8E8"/>
    <a:srgbClr val="66C0CA"/>
    <a:srgbClr val="7CB7D6"/>
    <a:srgbClr val="053061"/>
    <a:srgbClr val="E5EE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2A0272C-55A1-41A8-BF74-C0F12C47E0F4}" v="201" dt="2021-08-09T21:47:33.2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7" d="100"/>
          <a:sy n="77" d="100"/>
        </p:scale>
        <p:origin x="980" y="6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4.fntdata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font" Target="fonts/font7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2.fntdata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font" Target="fonts/font6.fntdata"/><Relationship Id="rId23" Type="http://schemas.openxmlformats.org/officeDocument/2006/relationships/tableStyles" Target="tableStyles.xml"/><Relationship Id="rId10" Type="http://schemas.openxmlformats.org/officeDocument/2006/relationships/font" Target="fonts/font1.fntdata"/><Relationship Id="rId19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ney, Taraesa (CDC/DDID/NCEZID/OD) (CTR)" userId="461352ee-08a1-4677-9c6c-fe02fb8ae7d4" providerId="ADAL" clId="{A2A0272C-55A1-41A8-BF74-C0F12C47E0F4}"/>
    <pc:docChg chg="undo custSel delSld modSld">
      <pc:chgData name="Toney, Taraesa (CDC/DDID/NCEZID/OD) (CTR)" userId="461352ee-08a1-4677-9c6c-fe02fb8ae7d4" providerId="ADAL" clId="{A2A0272C-55A1-41A8-BF74-C0F12C47E0F4}" dt="2021-08-09T21:52:11.077" v="654" actId="1076"/>
      <pc:docMkLst>
        <pc:docMk/>
      </pc:docMkLst>
      <pc:sldChg chg="del">
        <pc:chgData name="Toney, Taraesa (CDC/DDID/NCEZID/OD) (CTR)" userId="461352ee-08a1-4677-9c6c-fe02fb8ae7d4" providerId="ADAL" clId="{A2A0272C-55A1-41A8-BF74-C0F12C47E0F4}" dt="2021-08-06T19:10:36.594" v="195" actId="2696"/>
        <pc:sldMkLst>
          <pc:docMk/>
          <pc:sldMk cId="4086100885" sldId="2145706489"/>
        </pc:sldMkLst>
      </pc:sldChg>
      <pc:sldChg chg="addSp delSp modSp mod">
        <pc:chgData name="Toney, Taraesa (CDC/DDID/NCEZID/OD) (CTR)" userId="461352ee-08a1-4677-9c6c-fe02fb8ae7d4" providerId="ADAL" clId="{A2A0272C-55A1-41A8-BF74-C0F12C47E0F4}" dt="2021-08-09T21:52:11.077" v="654" actId="1076"/>
        <pc:sldMkLst>
          <pc:docMk/>
          <pc:sldMk cId="2109103988" sldId="2145706629"/>
        </pc:sldMkLst>
        <pc:spChg chg="mod">
          <ac:chgData name="Toney, Taraesa (CDC/DDID/NCEZID/OD) (CTR)" userId="461352ee-08a1-4677-9c6c-fe02fb8ae7d4" providerId="ADAL" clId="{A2A0272C-55A1-41A8-BF74-C0F12C47E0F4}" dt="2021-08-06T19:27:25.252" v="519" actId="20577"/>
          <ac:spMkLst>
            <pc:docMk/>
            <pc:sldMk cId="2109103988" sldId="2145706629"/>
            <ac:spMk id="4" creationId="{429FE65F-3FF6-4A45-97ED-630DE9090F0A}"/>
          </ac:spMkLst>
        </pc:spChg>
        <pc:spChg chg="mod">
          <ac:chgData name="Toney, Taraesa (CDC/DDID/NCEZID/OD) (CTR)" userId="461352ee-08a1-4677-9c6c-fe02fb8ae7d4" providerId="ADAL" clId="{A2A0272C-55A1-41A8-BF74-C0F12C47E0F4}" dt="2021-08-06T20:40:46.189" v="528" actId="20577"/>
          <ac:spMkLst>
            <pc:docMk/>
            <pc:sldMk cId="2109103988" sldId="2145706629"/>
            <ac:spMk id="6" creationId="{F7AC95E6-0ED8-4B3C-B4D6-D29245301B77}"/>
          </ac:spMkLst>
        </pc:spChg>
        <pc:spChg chg="mod">
          <ac:chgData name="Toney, Taraesa (CDC/DDID/NCEZID/OD) (CTR)" userId="461352ee-08a1-4677-9c6c-fe02fb8ae7d4" providerId="ADAL" clId="{A2A0272C-55A1-41A8-BF74-C0F12C47E0F4}" dt="2021-08-09T19:36:06.241" v="625" actId="1076"/>
          <ac:spMkLst>
            <pc:docMk/>
            <pc:sldMk cId="2109103988" sldId="2145706629"/>
            <ac:spMk id="14" creationId="{49B149B3-D310-4CD3-953B-9BB88FD847B6}"/>
          </ac:spMkLst>
        </pc:spChg>
        <pc:spChg chg="mod">
          <ac:chgData name="Toney, Taraesa (CDC/DDID/NCEZID/OD) (CTR)" userId="461352ee-08a1-4677-9c6c-fe02fb8ae7d4" providerId="ADAL" clId="{A2A0272C-55A1-41A8-BF74-C0F12C47E0F4}" dt="2021-08-09T18:50:55.952" v="614" actId="1076"/>
          <ac:spMkLst>
            <pc:docMk/>
            <pc:sldMk cId="2109103988" sldId="2145706629"/>
            <ac:spMk id="16" creationId="{595CDA48-DF40-478E-9B01-659900FADF97}"/>
          </ac:spMkLst>
        </pc:spChg>
        <pc:graphicFrameChg chg="add del mod modGraphic">
          <ac:chgData name="Toney, Taraesa (CDC/DDID/NCEZID/OD) (CTR)" userId="461352ee-08a1-4677-9c6c-fe02fb8ae7d4" providerId="ADAL" clId="{A2A0272C-55A1-41A8-BF74-C0F12C47E0F4}" dt="2021-08-09T18:51:15.663" v="615" actId="478"/>
          <ac:graphicFrameMkLst>
            <pc:docMk/>
            <pc:sldMk cId="2109103988" sldId="2145706629"/>
            <ac:graphicFrameMk id="2" creationId="{3D1128BE-2736-4BE1-A5A9-BCB31C5F1B65}"/>
          </ac:graphicFrameMkLst>
        </pc:graphicFrameChg>
        <pc:graphicFrameChg chg="add del mod">
          <ac:chgData name="Toney, Taraesa (CDC/DDID/NCEZID/OD) (CTR)" userId="461352ee-08a1-4677-9c6c-fe02fb8ae7d4" providerId="ADAL" clId="{A2A0272C-55A1-41A8-BF74-C0F12C47E0F4}" dt="2021-08-09T18:47:10.796" v="546"/>
          <ac:graphicFrameMkLst>
            <pc:docMk/>
            <pc:sldMk cId="2109103988" sldId="2145706629"/>
            <ac:graphicFrameMk id="8" creationId="{13FC7D8C-D804-40A2-B363-D75316AF53FB}"/>
          </ac:graphicFrameMkLst>
        </pc:graphicFrameChg>
        <pc:graphicFrameChg chg="add mod modGraphic">
          <ac:chgData name="Toney, Taraesa (CDC/DDID/NCEZID/OD) (CTR)" userId="461352ee-08a1-4677-9c6c-fe02fb8ae7d4" providerId="ADAL" clId="{A2A0272C-55A1-41A8-BF74-C0F12C47E0F4}" dt="2021-08-09T18:49:58.696" v="593" actId="14734"/>
          <ac:graphicFrameMkLst>
            <pc:docMk/>
            <pc:sldMk cId="2109103988" sldId="2145706629"/>
            <ac:graphicFrameMk id="9" creationId="{92FCDE77-5A53-4CF4-9266-3C4180742E29}"/>
          </ac:graphicFrameMkLst>
        </pc:graphicFrameChg>
        <pc:graphicFrameChg chg="del mod">
          <ac:chgData name="Toney, Taraesa (CDC/DDID/NCEZID/OD) (CTR)" userId="461352ee-08a1-4677-9c6c-fe02fb8ae7d4" providerId="ADAL" clId="{A2A0272C-55A1-41A8-BF74-C0F12C47E0F4}" dt="2021-08-09T18:48:05.050" v="557" actId="478"/>
          <ac:graphicFrameMkLst>
            <pc:docMk/>
            <pc:sldMk cId="2109103988" sldId="2145706629"/>
            <ac:graphicFrameMk id="10" creationId="{010EB226-1B9B-42AB-ABB7-5B2EB684D78D}"/>
          </ac:graphicFrameMkLst>
        </pc:graphicFrameChg>
        <pc:graphicFrameChg chg="add mod modGraphic">
          <ac:chgData name="Toney, Taraesa (CDC/DDID/NCEZID/OD) (CTR)" userId="461352ee-08a1-4677-9c6c-fe02fb8ae7d4" providerId="ADAL" clId="{A2A0272C-55A1-41A8-BF74-C0F12C47E0F4}" dt="2021-08-09T21:44:30.044" v="638" actId="113"/>
          <ac:graphicFrameMkLst>
            <pc:docMk/>
            <pc:sldMk cId="2109103988" sldId="2145706629"/>
            <ac:graphicFrameMk id="11" creationId="{4D45564D-9A75-41B7-B121-24AF477FD98B}"/>
          </ac:graphicFrameMkLst>
        </pc:graphicFrameChg>
        <pc:graphicFrameChg chg="del">
          <ac:chgData name="Toney, Taraesa (CDC/DDID/NCEZID/OD) (CTR)" userId="461352ee-08a1-4677-9c6c-fe02fb8ae7d4" providerId="ADAL" clId="{A2A0272C-55A1-41A8-BF74-C0F12C47E0F4}" dt="2021-08-06T18:51:06.406" v="0" actId="478"/>
          <ac:graphicFrameMkLst>
            <pc:docMk/>
            <pc:sldMk cId="2109103988" sldId="2145706629"/>
            <ac:graphicFrameMk id="15" creationId="{89161162-850F-4B28-A55E-3EBF7F08B50A}"/>
          </ac:graphicFrameMkLst>
        </pc:graphicFrameChg>
        <pc:picChg chg="add mod ord">
          <ac:chgData name="Toney, Taraesa (CDC/DDID/NCEZID/OD) (CTR)" userId="461352ee-08a1-4677-9c6c-fe02fb8ae7d4" providerId="ADAL" clId="{A2A0272C-55A1-41A8-BF74-C0F12C47E0F4}" dt="2021-08-09T21:52:11.077" v="654" actId="1076"/>
          <ac:picMkLst>
            <pc:docMk/>
            <pc:sldMk cId="2109103988" sldId="2145706629"/>
            <ac:picMk id="5" creationId="{ABBE2D4D-0237-4A41-B4A8-CCC29580C63A}"/>
          </ac:picMkLst>
        </pc:picChg>
        <pc:picChg chg="del mod">
          <ac:chgData name="Toney, Taraesa (CDC/DDID/NCEZID/OD) (CTR)" userId="461352ee-08a1-4677-9c6c-fe02fb8ae7d4" providerId="ADAL" clId="{A2A0272C-55A1-41A8-BF74-C0F12C47E0F4}" dt="2021-08-09T18:46:45.964" v="539" actId="478"/>
          <ac:picMkLst>
            <pc:docMk/>
            <pc:sldMk cId="2109103988" sldId="2145706629"/>
            <ac:picMk id="7" creationId="{AD936773-AA9B-4FF4-B978-149C54AD4D6A}"/>
          </ac:picMkLst>
        </pc:picChg>
        <pc:cxnChg chg="mod">
          <ac:chgData name="Toney, Taraesa (CDC/DDID/NCEZID/OD) (CTR)" userId="461352ee-08a1-4677-9c6c-fe02fb8ae7d4" providerId="ADAL" clId="{A2A0272C-55A1-41A8-BF74-C0F12C47E0F4}" dt="2021-08-09T18:49:42.457" v="589" actId="1076"/>
          <ac:cxnSpMkLst>
            <pc:docMk/>
            <pc:sldMk cId="2109103988" sldId="2145706629"/>
            <ac:cxnSpMk id="12" creationId="{17B1A6E8-95CB-46B1-B8D2-BA3315E6CB10}"/>
          </ac:cxnSpMkLst>
        </pc:cxnChg>
      </pc:sldChg>
      <pc:sldChg chg="addSp delSp modSp mod">
        <pc:chgData name="Toney, Taraesa (CDC/DDID/NCEZID/OD) (CTR)" userId="461352ee-08a1-4677-9c6c-fe02fb8ae7d4" providerId="ADAL" clId="{A2A0272C-55A1-41A8-BF74-C0F12C47E0F4}" dt="2021-08-09T21:47:52.042" v="652" actId="113"/>
        <pc:sldMkLst>
          <pc:docMk/>
          <pc:sldMk cId="190788830" sldId="2145706630"/>
        </pc:sldMkLst>
        <pc:spChg chg="mod">
          <ac:chgData name="Toney, Taraesa (CDC/DDID/NCEZID/OD) (CTR)" userId="461352ee-08a1-4677-9c6c-fe02fb8ae7d4" providerId="ADAL" clId="{A2A0272C-55A1-41A8-BF74-C0F12C47E0F4}" dt="2021-08-06T19:27:18.268" v="511" actId="20577"/>
          <ac:spMkLst>
            <pc:docMk/>
            <pc:sldMk cId="190788830" sldId="2145706630"/>
            <ac:spMk id="4" creationId="{429FE65F-3FF6-4A45-97ED-630DE9090F0A}"/>
          </ac:spMkLst>
        </pc:spChg>
        <pc:spChg chg="mod">
          <ac:chgData name="Toney, Taraesa (CDC/DDID/NCEZID/OD) (CTR)" userId="461352ee-08a1-4677-9c6c-fe02fb8ae7d4" providerId="ADAL" clId="{A2A0272C-55A1-41A8-BF74-C0F12C47E0F4}" dt="2021-08-06T20:41:00.512" v="538" actId="20577"/>
          <ac:spMkLst>
            <pc:docMk/>
            <pc:sldMk cId="190788830" sldId="2145706630"/>
            <ac:spMk id="6" creationId="{F7AC95E6-0ED8-4B3C-B4D6-D29245301B77}"/>
          </ac:spMkLst>
        </pc:spChg>
        <pc:spChg chg="del mod">
          <ac:chgData name="Toney, Taraesa (CDC/DDID/NCEZID/OD) (CTR)" userId="461352ee-08a1-4677-9c6c-fe02fb8ae7d4" providerId="ADAL" clId="{A2A0272C-55A1-41A8-BF74-C0F12C47E0F4}" dt="2021-08-09T19:35:11.913" v="622" actId="478"/>
          <ac:spMkLst>
            <pc:docMk/>
            <pc:sldMk cId="190788830" sldId="2145706630"/>
            <ac:spMk id="14" creationId="{49B149B3-D310-4CD3-953B-9BB88FD847B6}"/>
          </ac:spMkLst>
        </pc:spChg>
        <pc:spChg chg="add mod">
          <ac:chgData name="Toney, Taraesa (CDC/DDID/NCEZID/OD) (CTR)" userId="461352ee-08a1-4677-9c6c-fe02fb8ae7d4" providerId="ADAL" clId="{A2A0272C-55A1-41A8-BF74-C0F12C47E0F4}" dt="2021-08-09T19:36:19.166" v="626"/>
          <ac:spMkLst>
            <pc:docMk/>
            <pc:sldMk cId="190788830" sldId="2145706630"/>
            <ac:spMk id="15" creationId="{E22CB58F-749F-43AC-9486-8F38DD8DE1E2}"/>
          </ac:spMkLst>
        </pc:spChg>
        <pc:spChg chg="del mod">
          <ac:chgData name="Toney, Taraesa (CDC/DDID/NCEZID/OD) (CTR)" userId="461352ee-08a1-4677-9c6c-fe02fb8ae7d4" providerId="ADAL" clId="{A2A0272C-55A1-41A8-BF74-C0F12C47E0F4}" dt="2021-08-09T19:35:16.268" v="624" actId="478"/>
          <ac:spMkLst>
            <pc:docMk/>
            <pc:sldMk cId="190788830" sldId="2145706630"/>
            <ac:spMk id="16" creationId="{595CDA48-DF40-478E-9B01-659900FADF97}"/>
          </ac:spMkLst>
        </pc:spChg>
        <pc:spChg chg="add mod">
          <ac:chgData name="Toney, Taraesa (CDC/DDID/NCEZID/OD) (CTR)" userId="461352ee-08a1-4677-9c6c-fe02fb8ae7d4" providerId="ADAL" clId="{A2A0272C-55A1-41A8-BF74-C0F12C47E0F4}" dt="2021-08-09T19:36:19.166" v="626"/>
          <ac:spMkLst>
            <pc:docMk/>
            <pc:sldMk cId="190788830" sldId="2145706630"/>
            <ac:spMk id="17" creationId="{73CE4FF6-9B5A-4FA6-A39F-1317F36C14B7}"/>
          </ac:spMkLst>
        </pc:spChg>
        <pc:graphicFrameChg chg="add del mod modGraphic">
          <ac:chgData name="Toney, Taraesa (CDC/DDID/NCEZID/OD) (CTR)" userId="461352ee-08a1-4677-9c6c-fe02fb8ae7d4" providerId="ADAL" clId="{A2A0272C-55A1-41A8-BF74-C0F12C47E0F4}" dt="2021-08-09T19:35:07.314" v="620" actId="478"/>
          <ac:graphicFrameMkLst>
            <pc:docMk/>
            <pc:sldMk cId="190788830" sldId="2145706630"/>
            <ac:graphicFrameMk id="2" creationId="{290EAFCA-BB60-4591-BE0F-1653280B857E}"/>
          </ac:graphicFrameMkLst>
        </pc:graphicFrameChg>
        <pc:graphicFrameChg chg="add del mod modGraphic">
          <ac:chgData name="Toney, Taraesa (CDC/DDID/NCEZID/OD) (CTR)" userId="461352ee-08a1-4677-9c6c-fe02fb8ae7d4" providerId="ADAL" clId="{A2A0272C-55A1-41A8-BF74-C0F12C47E0F4}" dt="2021-08-09T21:47:32.329" v="647" actId="478"/>
          <ac:graphicFrameMkLst>
            <pc:docMk/>
            <pc:sldMk cId="190788830" sldId="2145706630"/>
            <ac:graphicFrameMk id="8" creationId="{9FE433C1-1979-4780-AB90-ADDE36FF5045}"/>
          </ac:graphicFrameMkLst>
        </pc:graphicFrameChg>
        <pc:graphicFrameChg chg="add mod modGraphic">
          <ac:chgData name="Toney, Taraesa (CDC/DDID/NCEZID/OD) (CTR)" userId="461352ee-08a1-4677-9c6c-fe02fb8ae7d4" providerId="ADAL" clId="{A2A0272C-55A1-41A8-BF74-C0F12C47E0F4}" dt="2021-08-09T21:47:52.042" v="652" actId="113"/>
          <ac:graphicFrameMkLst>
            <pc:docMk/>
            <pc:sldMk cId="190788830" sldId="2145706630"/>
            <ac:graphicFrameMk id="9" creationId="{BCAD4529-D176-42BB-9608-90479A48D148}"/>
          </ac:graphicFrameMkLst>
        </pc:graphicFrameChg>
        <pc:graphicFrameChg chg="del mod modGraphic">
          <ac:chgData name="Toney, Taraesa (CDC/DDID/NCEZID/OD) (CTR)" userId="461352ee-08a1-4677-9c6c-fe02fb8ae7d4" providerId="ADAL" clId="{A2A0272C-55A1-41A8-BF74-C0F12C47E0F4}" dt="2021-08-09T19:35:03.094" v="619" actId="478"/>
          <ac:graphicFrameMkLst>
            <pc:docMk/>
            <pc:sldMk cId="190788830" sldId="2145706630"/>
            <ac:graphicFrameMk id="10" creationId="{010EB226-1B9B-42AB-ABB7-5B2EB684D78D}"/>
          </ac:graphicFrameMkLst>
        </pc:graphicFrameChg>
        <pc:graphicFrameChg chg="add mod">
          <ac:chgData name="Toney, Taraesa (CDC/DDID/NCEZID/OD) (CTR)" userId="461352ee-08a1-4677-9c6c-fe02fb8ae7d4" providerId="ADAL" clId="{A2A0272C-55A1-41A8-BF74-C0F12C47E0F4}" dt="2021-08-09T19:36:19.166" v="626"/>
          <ac:graphicFrameMkLst>
            <pc:docMk/>
            <pc:sldMk cId="190788830" sldId="2145706630"/>
            <ac:graphicFrameMk id="20" creationId="{1AE2CBA3-167D-4DEF-96EC-558D61829D4B}"/>
          </ac:graphicFrameMkLst>
        </pc:graphicFrameChg>
        <pc:picChg chg="add del mod ord">
          <ac:chgData name="Toney, Taraesa (CDC/DDID/NCEZID/OD) (CTR)" userId="461352ee-08a1-4677-9c6c-fe02fb8ae7d4" providerId="ADAL" clId="{A2A0272C-55A1-41A8-BF74-C0F12C47E0F4}" dt="2021-08-09T19:34:59.551" v="618" actId="478"/>
          <ac:picMkLst>
            <pc:docMk/>
            <pc:sldMk cId="190788830" sldId="2145706630"/>
            <ac:picMk id="5" creationId="{1C1DB491-CF43-47E3-9F65-88972D668F1C}"/>
          </ac:picMkLst>
        </pc:picChg>
        <pc:picChg chg="add mod ord">
          <ac:chgData name="Toney, Taraesa (CDC/DDID/NCEZID/OD) (CTR)" userId="461352ee-08a1-4677-9c6c-fe02fb8ae7d4" providerId="ADAL" clId="{A2A0272C-55A1-41A8-BF74-C0F12C47E0F4}" dt="2021-08-09T21:45:24.248" v="642" actId="14100"/>
          <ac:picMkLst>
            <pc:docMk/>
            <pc:sldMk cId="190788830" sldId="2145706630"/>
            <ac:picMk id="7" creationId="{90E8C12A-C339-4AB6-BEB0-8AEC4B0570F9}"/>
          </ac:picMkLst>
        </pc:picChg>
        <pc:cxnChg chg="del mod">
          <ac:chgData name="Toney, Taraesa (CDC/DDID/NCEZID/OD) (CTR)" userId="461352ee-08a1-4677-9c6c-fe02fb8ae7d4" providerId="ADAL" clId="{A2A0272C-55A1-41A8-BF74-C0F12C47E0F4}" dt="2021-08-09T19:35:13.756" v="623" actId="478"/>
          <ac:cxnSpMkLst>
            <pc:docMk/>
            <pc:sldMk cId="190788830" sldId="2145706630"/>
            <ac:cxnSpMk id="12" creationId="{17B1A6E8-95CB-46B1-B8D2-BA3315E6CB10}"/>
          </ac:cxnSpMkLst>
        </pc:cxnChg>
        <pc:cxnChg chg="add mod">
          <ac:chgData name="Toney, Taraesa (CDC/DDID/NCEZID/OD) (CTR)" userId="461352ee-08a1-4677-9c6c-fe02fb8ae7d4" providerId="ADAL" clId="{A2A0272C-55A1-41A8-BF74-C0F12C47E0F4}" dt="2021-08-09T19:36:19.166" v="626"/>
          <ac:cxnSpMkLst>
            <pc:docMk/>
            <pc:sldMk cId="190788830" sldId="2145706630"/>
            <ac:cxnSpMk id="19" creationId="{955BDD85-9707-49F5-BD69-5D2F845CC849}"/>
          </ac:cxnSpMkLst>
        </pc:cxnChg>
      </pc:sldChg>
    </pc:docChg>
  </pc:docChgLst>
  <pc:docChgLst>
    <pc:chgData name="Toney, Taraesa (CDC/DDID/NCEZID/OD) (CTR)" userId="461352ee-08a1-4677-9c6c-fe02fb8ae7d4" providerId="ADAL" clId="{61C63A30-27AF-4F69-9C13-883AAA1D373F}"/>
    <pc:docChg chg="undo redo custSel addSld delSld modSld sldOrd">
      <pc:chgData name="Toney, Taraesa (CDC/DDID/NCEZID/OD) (CTR)" userId="461352ee-08a1-4677-9c6c-fe02fb8ae7d4" providerId="ADAL" clId="{61C63A30-27AF-4F69-9C13-883AAA1D373F}" dt="2021-08-06T12:18:20.390" v="886" actId="478"/>
      <pc:docMkLst>
        <pc:docMk/>
      </pc:docMkLst>
      <pc:sldChg chg="del">
        <pc:chgData name="Toney, Taraesa (CDC/DDID/NCEZID/OD) (CTR)" userId="461352ee-08a1-4677-9c6c-fe02fb8ae7d4" providerId="ADAL" clId="{61C63A30-27AF-4F69-9C13-883AAA1D373F}" dt="2021-08-06T11:18:49.098" v="13" actId="2696"/>
        <pc:sldMkLst>
          <pc:docMk/>
          <pc:sldMk cId="1804756853" sldId="2145706488"/>
        </pc:sldMkLst>
      </pc:sldChg>
      <pc:sldChg chg="modSp mod">
        <pc:chgData name="Toney, Taraesa (CDC/DDID/NCEZID/OD) (CTR)" userId="461352ee-08a1-4677-9c6c-fe02fb8ae7d4" providerId="ADAL" clId="{61C63A30-27AF-4F69-9C13-883AAA1D373F}" dt="2021-08-06T11:18:07.063" v="11" actId="20577"/>
        <pc:sldMkLst>
          <pc:docMk/>
          <pc:sldMk cId="2657122771" sldId="2145706494"/>
        </pc:sldMkLst>
        <pc:spChg chg="mod">
          <ac:chgData name="Toney, Taraesa (CDC/DDID/NCEZID/OD) (CTR)" userId="461352ee-08a1-4677-9c6c-fe02fb8ae7d4" providerId="ADAL" clId="{61C63A30-27AF-4F69-9C13-883AAA1D373F}" dt="2021-08-06T11:18:07.063" v="11" actId="20577"/>
          <ac:spMkLst>
            <pc:docMk/>
            <pc:sldMk cId="2657122771" sldId="2145706494"/>
            <ac:spMk id="3" creationId="{3921232D-0D00-4652-84A6-C735EA4ECE6B}"/>
          </ac:spMkLst>
        </pc:spChg>
      </pc:sldChg>
      <pc:sldChg chg="del">
        <pc:chgData name="Toney, Taraesa (CDC/DDID/NCEZID/OD) (CTR)" userId="461352ee-08a1-4677-9c6c-fe02fb8ae7d4" providerId="ADAL" clId="{61C63A30-27AF-4F69-9C13-883AAA1D373F}" dt="2021-08-06T11:29:08.070" v="287" actId="2696"/>
        <pc:sldMkLst>
          <pc:docMk/>
          <pc:sldMk cId="319008759" sldId="2145706614"/>
        </pc:sldMkLst>
      </pc:sldChg>
      <pc:sldChg chg="del">
        <pc:chgData name="Toney, Taraesa (CDC/DDID/NCEZID/OD) (CTR)" userId="461352ee-08a1-4677-9c6c-fe02fb8ae7d4" providerId="ADAL" clId="{61C63A30-27AF-4F69-9C13-883AAA1D373F}" dt="2021-08-06T11:18:49.098" v="13" actId="2696"/>
        <pc:sldMkLst>
          <pc:docMk/>
          <pc:sldMk cId="845051818" sldId="2145706618"/>
        </pc:sldMkLst>
      </pc:sldChg>
      <pc:sldChg chg="del">
        <pc:chgData name="Toney, Taraesa (CDC/DDID/NCEZID/OD) (CTR)" userId="461352ee-08a1-4677-9c6c-fe02fb8ae7d4" providerId="ADAL" clId="{61C63A30-27AF-4F69-9C13-883AAA1D373F}" dt="2021-08-06T11:18:49.098" v="13" actId="2696"/>
        <pc:sldMkLst>
          <pc:docMk/>
          <pc:sldMk cId="3898900210" sldId="2145706619"/>
        </pc:sldMkLst>
      </pc:sldChg>
      <pc:sldChg chg="del">
        <pc:chgData name="Toney, Taraesa (CDC/DDID/NCEZID/OD) (CTR)" userId="461352ee-08a1-4677-9c6c-fe02fb8ae7d4" providerId="ADAL" clId="{61C63A30-27AF-4F69-9C13-883AAA1D373F}" dt="2021-08-06T11:18:49.098" v="13" actId="2696"/>
        <pc:sldMkLst>
          <pc:docMk/>
          <pc:sldMk cId="524971662" sldId="2145706620"/>
        </pc:sldMkLst>
      </pc:sldChg>
      <pc:sldChg chg="del">
        <pc:chgData name="Toney, Taraesa (CDC/DDID/NCEZID/OD) (CTR)" userId="461352ee-08a1-4677-9c6c-fe02fb8ae7d4" providerId="ADAL" clId="{61C63A30-27AF-4F69-9C13-883AAA1D373F}" dt="2021-08-06T11:18:13.477" v="12" actId="2696"/>
        <pc:sldMkLst>
          <pc:docMk/>
          <pc:sldMk cId="3425994705" sldId="2145706621"/>
        </pc:sldMkLst>
      </pc:sldChg>
      <pc:sldChg chg="del">
        <pc:chgData name="Toney, Taraesa (CDC/DDID/NCEZID/OD) (CTR)" userId="461352ee-08a1-4677-9c6c-fe02fb8ae7d4" providerId="ADAL" clId="{61C63A30-27AF-4F69-9C13-883AAA1D373F}" dt="2021-08-06T11:18:49.098" v="13" actId="2696"/>
        <pc:sldMkLst>
          <pc:docMk/>
          <pc:sldMk cId="1788307885" sldId="2145706622"/>
        </pc:sldMkLst>
      </pc:sldChg>
      <pc:sldChg chg="del">
        <pc:chgData name="Toney, Taraesa (CDC/DDID/NCEZID/OD) (CTR)" userId="461352ee-08a1-4677-9c6c-fe02fb8ae7d4" providerId="ADAL" clId="{61C63A30-27AF-4F69-9C13-883AAA1D373F}" dt="2021-08-06T11:18:49.098" v="13" actId="2696"/>
        <pc:sldMkLst>
          <pc:docMk/>
          <pc:sldMk cId="1420610240" sldId="2145706623"/>
        </pc:sldMkLst>
      </pc:sldChg>
      <pc:sldChg chg="del">
        <pc:chgData name="Toney, Taraesa (CDC/DDID/NCEZID/OD) (CTR)" userId="461352ee-08a1-4677-9c6c-fe02fb8ae7d4" providerId="ADAL" clId="{61C63A30-27AF-4F69-9C13-883AAA1D373F}" dt="2021-08-06T11:18:49.098" v="13" actId="2696"/>
        <pc:sldMkLst>
          <pc:docMk/>
          <pc:sldMk cId="3754317444" sldId="2145706624"/>
        </pc:sldMkLst>
      </pc:sldChg>
      <pc:sldChg chg="del">
        <pc:chgData name="Toney, Taraesa (CDC/DDID/NCEZID/OD) (CTR)" userId="461352ee-08a1-4677-9c6c-fe02fb8ae7d4" providerId="ADAL" clId="{61C63A30-27AF-4F69-9C13-883AAA1D373F}" dt="2021-08-06T11:18:49.098" v="13" actId="2696"/>
        <pc:sldMkLst>
          <pc:docMk/>
          <pc:sldMk cId="586003453" sldId="2145706625"/>
        </pc:sldMkLst>
      </pc:sldChg>
      <pc:sldChg chg="del">
        <pc:chgData name="Toney, Taraesa (CDC/DDID/NCEZID/OD) (CTR)" userId="461352ee-08a1-4677-9c6c-fe02fb8ae7d4" providerId="ADAL" clId="{61C63A30-27AF-4F69-9C13-883AAA1D373F}" dt="2021-08-06T11:18:49.098" v="13" actId="2696"/>
        <pc:sldMkLst>
          <pc:docMk/>
          <pc:sldMk cId="3035709219" sldId="2145706626"/>
        </pc:sldMkLst>
      </pc:sldChg>
      <pc:sldChg chg="del">
        <pc:chgData name="Toney, Taraesa (CDC/DDID/NCEZID/OD) (CTR)" userId="461352ee-08a1-4677-9c6c-fe02fb8ae7d4" providerId="ADAL" clId="{61C63A30-27AF-4F69-9C13-883AAA1D373F}" dt="2021-08-06T11:18:13.477" v="12" actId="2696"/>
        <pc:sldMkLst>
          <pc:docMk/>
          <pc:sldMk cId="3157363242" sldId="2145706627"/>
        </pc:sldMkLst>
      </pc:sldChg>
      <pc:sldChg chg="del">
        <pc:chgData name="Toney, Taraesa (CDC/DDID/NCEZID/OD) (CTR)" userId="461352ee-08a1-4677-9c6c-fe02fb8ae7d4" providerId="ADAL" clId="{61C63A30-27AF-4F69-9C13-883AAA1D373F}" dt="2021-08-06T11:29:11.238" v="288" actId="2696"/>
        <pc:sldMkLst>
          <pc:docMk/>
          <pc:sldMk cId="1430511973" sldId="2145706628"/>
        </pc:sldMkLst>
      </pc:sldChg>
      <pc:sldChg chg="addSp delSp modSp add mod">
        <pc:chgData name="Toney, Taraesa (CDC/DDID/NCEZID/OD) (CTR)" userId="461352ee-08a1-4677-9c6c-fe02fb8ae7d4" providerId="ADAL" clId="{61C63A30-27AF-4F69-9C13-883AAA1D373F}" dt="2021-08-06T12:07:19.929" v="821" actId="1076"/>
        <pc:sldMkLst>
          <pc:docMk/>
          <pc:sldMk cId="2109103988" sldId="2145706629"/>
        </pc:sldMkLst>
        <pc:spChg chg="mod">
          <ac:chgData name="Toney, Taraesa (CDC/DDID/NCEZID/OD) (CTR)" userId="461352ee-08a1-4677-9c6c-fe02fb8ae7d4" providerId="ADAL" clId="{61C63A30-27AF-4F69-9C13-883AAA1D373F}" dt="2021-08-06T11:24:51.656" v="210" actId="948"/>
          <ac:spMkLst>
            <pc:docMk/>
            <pc:sldMk cId="2109103988" sldId="2145706629"/>
            <ac:spMk id="4" creationId="{429FE65F-3FF6-4A45-97ED-630DE9090F0A}"/>
          </ac:spMkLst>
        </pc:spChg>
        <pc:spChg chg="mod">
          <ac:chgData name="Toney, Taraesa (CDC/DDID/NCEZID/OD) (CTR)" userId="461352ee-08a1-4677-9c6c-fe02fb8ae7d4" providerId="ADAL" clId="{61C63A30-27AF-4F69-9C13-883AAA1D373F}" dt="2021-08-06T11:41:39.331" v="617" actId="20577"/>
          <ac:spMkLst>
            <pc:docMk/>
            <pc:sldMk cId="2109103988" sldId="2145706629"/>
            <ac:spMk id="6" creationId="{F7AC95E6-0ED8-4B3C-B4D6-D29245301B77}"/>
          </ac:spMkLst>
        </pc:spChg>
        <pc:spChg chg="mod ord">
          <ac:chgData name="Toney, Taraesa (CDC/DDID/NCEZID/OD) (CTR)" userId="461352ee-08a1-4677-9c6c-fe02fb8ae7d4" providerId="ADAL" clId="{61C63A30-27AF-4F69-9C13-883AAA1D373F}" dt="2021-08-06T12:07:13.567" v="820" actId="1076"/>
          <ac:spMkLst>
            <pc:docMk/>
            <pc:sldMk cId="2109103988" sldId="2145706629"/>
            <ac:spMk id="14" creationId="{49B149B3-D310-4CD3-953B-9BB88FD847B6}"/>
          </ac:spMkLst>
        </pc:spChg>
        <pc:spChg chg="mod">
          <ac:chgData name="Toney, Taraesa (CDC/DDID/NCEZID/OD) (CTR)" userId="461352ee-08a1-4677-9c6c-fe02fb8ae7d4" providerId="ADAL" clId="{61C63A30-27AF-4F69-9C13-883AAA1D373F}" dt="2021-08-06T12:05:50.121" v="636" actId="1076"/>
          <ac:spMkLst>
            <pc:docMk/>
            <pc:sldMk cId="2109103988" sldId="2145706629"/>
            <ac:spMk id="16" creationId="{595CDA48-DF40-478E-9B01-659900FADF97}"/>
          </ac:spMkLst>
        </pc:spChg>
        <pc:spChg chg="mod">
          <ac:chgData name="Toney, Taraesa (CDC/DDID/NCEZID/OD) (CTR)" userId="461352ee-08a1-4677-9c6c-fe02fb8ae7d4" providerId="ADAL" clId="{61C63A30-27AF-4F69-9C13-883AAA1D373F}" dt="2021-08-06T11:22:58.565" v="182" actId="14100"/>
          <ac:spMkLst>
            <pc:docMk/>
            <pc:sldMk cId="2109103988" sldId="2145706629"/>
            <ac:spMk id="18" creationId="{85F851CD-7AFC-4A70-93D7-16D9DE698252}"/>
          </ac:spMkLst>
        </pc:spChg>
        <pc:graphicFrameChg chg="del">
          <ac:chgData name="Toney, Taraesa (CDC/DDID/NCEZID/OD) (CTR)" userId="461352ee-08a1-4677-9c6c-fe02fb8ae7d4" providerId="ADAL" clId="{61C63A30-27AF-4F69-9C13-883AAA1D373F}" dt="2021-08-06T11:22:10.296" v="166" actId="478"/>
          <ac:graphicFrameMkLst>
            <pc:docMk/>
            <pc:sldMk cId="2109103988" sldId="2145706629"/>
            <ac:graphicFrameMk id="5" creationId="{3C5C933E-0D7A-4ED9-B6BE-7E71F32F64E5}"/>
          </ac:graphicFrameMkLst>
        </pc:graphicFrameChg>
        <pc:graphicFrameChg chg="add del mod">
          <ac:chgData name="Toney, Taraesa (CDC/DDID/NCEZID/OD) (CTR)" userId="461352ee-08a1-4677-9c6c-fe02fb8ae7d4" providerId="ADAL" clId="{61C63A30-27AF-4F69-9C13-883AAA1D373F}" dt="2021-08-06T11:23:12.131" v="184"/>
          <ac:graphicFrameMkLst>
            <pc:docMk/>
            <pc:sldMk cId="2109103988" sldId="2145706629"/>
            <ac:graphicFrameMk id="8" creationId="{9A3DE960-CD15-4391-8DCB-A6EF4E593867}"/>
          </ac:graphicFrameMkLst>
        </pc:graphicFrameChg>
        <pc:graphicFrameChg chg="add del mod">
          <ac:chgData name="Toney, Taraesa (CDC/DDID/NCEZID/OD) (CTR)" userId="461352ee-08a1-4677-9c6c-fe02fb8ae7d4" providerId="ADAL" clId="{61C63A30-27AF-4F69-9C13-883AAA1D373F}" dt="2021-08-06T12:04:43.869" v="626" actId="478"/>
          <ac:graphicFrameMkLst>
            <pc:docMk/>
            <pc:sldMk cId="2109103988" sldId="2145706629"/>
            <ac:graphicFrameMk id="9" creationId="{FEF53FFE-B6BD-42C3-8072-06043AF6CC99}"/>
          </ac:graphicFrameMkLst>
        </pc:graphicFrameChg>
        <pc:graphicFrameChg chg="add mod modGraphic">
          <ac:chgData name="Toney, Taraesa (CDC/DDID/NCEZID/OD) (CTR)" userId="461352ee-08a1-4677-9c6c-fe02fb8ae7d4" providerId="ADAL" clId="{61C63A30-27AF-4F69-9C13-883AAA1D373F}" dt="2021-08-06T12:05:50.121" v="636" actId="1076"/>
          <ac:graphicFrameMkLst>
            <pc:docMk/>
            <pc:sldMk cId="2109103988" sldId="2145706629"/>
            <ac:graphicFrameMk id="10" creationId="{010EB226-1B9B-42AB-ABB7-5B2EB684D78D}"/>
          </ac:graphicFrameMkLst>
        </pc:graphicFrameChg>
        <pc:graphicFrameChg chg="add del mod modGraphic">
          <ac:chgData name="Toney, Taraesa (CDC/DDID/NCEZID/OD) (CTR)" userId="461352ee-08a1-4677-9c6c-fe02fb8ae7d4" providerId="ADAL" clId="{61C63A30-27AF-4F69-9C13-883AAA1D373F}" dt="2021-08-06T12:06:06.174" v="637" actId="20577"/>
          <ac:graphicFrameMkLst>
            <pc:docMk/>
            <pc:sldMk cId="2109103988" sldId="2145706629"/>
            <ac:graphicFrameMk id="15" creationId="{89161162-850F-4B28-A55E-3EBF7F08B50A}"/>
          </ac:graphicFrameMkLst>
        </pc:graphicFrameChg>
        <pc:picChg chg="del">
          <ac:chgData name="Toney, Taraesa (CDC/DDID/NCEZID/OD) (CTR)" userId="461352ee-08a1-4677-9c6c-fe02fb8ae7d4" providerId="ADAL" clId="{61C63A30-27AF-4F69-9C13-883AAA1D373F}" dt="2021-08-06T11:20:49.687" v="160" actId="478"/>
          <ac:picMkLst>
            <pc:docMk/>
            <pc:sldMk cId="2109103988" sldId="2145706629"/>
            <ac:picMk id="2" creationId="{1021DD9A-7503-4FE7-BE91-0320DBD4FD63}"/>
          </ac:picMkLst>
        </pc:picChg>
        <pc:picChg chg="add mod ord">
          <ac:chgData name="Toney, Taraesa (CDC/DDID/NCEZID/OD) (CTR)" userId="461352ee-08a1-4677-9c6c-fe02fb8ae7d4" providerId="ADAL" clId="{61C63A30-27AF-4F69-9C13-883AAA1D373F}" dt="2021-08-06T12:05:04.366" v="631" actId="14100"/>
          <ac:picMkLst>
            <pc:docMk/>
            <pc:sldMk cId="2109103988" sldId="2145706629"/>
            <ac:picMk id="7" creationId="{AD936773-AA9B-4FF4-B978-149C54AD4D6A}"/>
          </ac:picMkLst>
        </pc:picChg>
        <pc:cxnChg chg="add mod">
          <ac:chgData name="Toney, Taraesa (CDC/DDID/NCEZID/OD) (CTR)" userId="461352ee-08a1-4677-9c6c-fe02fb8ae7d4" providerId="ADAL" clId="{61C63A30-27AF-4F69-9C13-883AAA1D373F}" dt="2021-08-06T12:07:19.929" v="821" actId="1076"/>
          <ac:cxnSpMkLst>
            <pc:docMk/>
            <pc:sldMk cId="2109103988" sldId="2145706629"/>
            <ac:cxnSpMk id="12" creationId="{17B1A6E8-95CB-46B1-B8D2-BA3315E6CB10}"/>
          </ac:cxnSpMkLst>
        </pc:cxnChg>
      </pc:sldChg>
      <pc:sldChg chg="del">
        <pc:chgData name="Toney, Taraesa (CDC/DDID/NCEZID/OD) (CTR)" userId="461352ee-08a1-4677-9c6c-fe02fb8ae7d4" providerId="ADAL" clId="{61C63A30-27AF-4F69-9C13-883AAA1D373F}" dt="2021-08-06T11:18:49.098" v="13" actId="2696"/>
        <pc:sldMkLst>
          <pc:docMk/>
          <pc:sldMk cId="2182319171" sldId="2145706629"/>
        </pc:sldMkLst>
      </pc:sldChg>
      <pc:sldChg chg="addSp delSp modSp add mod ord">
        <pc:chgData name="Toney, Taraesa (CDC/DDID/NCEZID/OD) (CTR)" userId="461352ee-08a1-4677-9c6c-fe02fb8ae7d4" providerId="ADAL" clId="{61C63A30-27AF-4F69-9C13-883AAA1D373F}" dt="2021-08-06T12:18:20.390" v="886" actId="478"/>
        <pc:sldMkLst>
          <pc:docMk/>
          <pc:sldMk cId="190788830" sldId="2145706630"/>
        </pc:sldMkLst>
        <pc:spChg chg="mod">
          <ac:chgData name="Toney, Taraesa (CDC/DDID/NCEZID/OD) (CTR)" userId="461352ee-08a1-4677-9c6c-fe02fb8ae7d4" providerId="ADAL" clId="{61C63A30-27AF-4F69-9C13-883AAA1D373F}" dt="2021-08-06T12:08:11.944" v="835" actId="20577"/>
          <ac:spMkLst>
            <pc:docMk/>
            <pc:sldMk cId="190788830" sldId="2145706630"/>
            <ac:spMk id="4" creationId="{429FE65F-3FF6-4A45-97ED-630DE9090F0A}"/>
          </ac:spMkLst>
        </pc:spChg>
        <pc:spChg chg="mod">
          <ac:chgData name="Toney, Taraesa (CDC/DDID/NCEZID/OD) (CTR)" userId="461352ee-08a1-4677-9c6c-fe02fb8ae7d4" providerId="ADAL" clId="{61C63A30-27AF-4F69-9C13-883AAA1D373F}" dt="2021-08-06T12:12:05.634" v="876" actId="20577"/>
          <ac:spMkLst>
            <pc:docMk/>
            <pc:sldMk cId="190788830" sldId="2145706630"/>
            <ac:spMk id="6" creationId="{F7AC95E6-0ED8-4B3C-B4D6-D29245301B77}"/>
          </ac:spMkLst>
        </pc:spChg>
        <pc:graphicFrameChg chg="del">
          <ac:chgData name="Toney, Taraesa (CDC/DDID/NCEZID/OD) (CTR)" userId="461352ee-08a1-4677-9c6c-fe02fb8ae7d4" providerId="ADAL" clId="{61C63A30-27AF-4F69-9C13-883AAA1D373F}" dt="2021-08-06T12:08:04.891" v="826" actId="478"/>
          <ac:graphicFrameMkLst>
            <pc:docMk/>
            <pc:sldMk cId="190788830" sldId="2145706630"/>
            <ac:graphicFrameMk id="15" creationId="{89161162-850F-4B28-A55E-3EBF7F08B50A}"/>
          </ac:graphicFrameMkLst>
        </pc:graphicFrameChg>
        <pc:picChg chg="add del mod">
          <ac:chgData name="Toney, Taraesa (CDC/DDID/NCEZID/OD) (CTR)" userId="461352ee-08a1-4677-9c6c-fe02fb8ae7d4" providerId="ADAL" clId="{61C63A30-27AF-4F69-9C13-883AAA1D373F}" dt="2021-08-06T12:18:20.390" v="886" actId="478"/>
          <ac:picMkLst>
            <pc:docMk/>
            <pc:sldMk cId="190788830" sldId="2145706630"/>
            <ac:picMk id="3" creationId="{FA2D1D5F-1BD2-4E5F-A488-55C11BE6DDB4}"/>
          </ac:picMkLst>
        </pc:picChg>
        <pc:picChg chg="del">
          <ac:chgData name="Toney, Taraesa (CDC/DDID/NCEZID/OD) (CTR)" userId="461352ee-08a1-4677-9c6c-fe02fb8ae7d4" providerId="ADAL" clId="{61C63A30-27AF-4F69-9C13-883AAA1D373F}" dt="2021-08-06T12:08:00.418" v="825" actId="478"/>
          <ac:picMkLst>
            <pc:docMk/>
            <pc:sldMk cId="190788830" sldId="2145706630"/>
            <ac:picMk id="7" creationId="{AD936773-AA9B-4FF4-B978-149C54AD4D6A}"/>
          </ac:picMkLst>
        </pc:picChg>
      </pc:sldChg>
      <pc:sldChg chg="del">
        <pc:chgData name="Toney, Taraesa (CDC/DDID/NCEZID/OD) (CTR)" userId="461352ee-08a1-4677-9c6c-fe02fb8ae7d4" providerId="ADAL" clId="{61C63A30-27AF-4F69-9C13-883AAA1D373F}" dt="2021-08-06T11:18:49.098" v="13" actId="2696"/>
        <pc:sldMkLst>
          <pc:docMk/>
          <pc:sldMk cId="2798437045" sldId="2145706630"/>
        </pc:sldMkLst>
      </pc:sldChg>
      <pc:sldChg chg="del">
        <pc:chgData name="Toney, Taraesa (CDC/DDID/NCEZID/OD) (CTR)" userId="461352ee-08a1-4677-9c6c-fe02fb8ae7d4" providerId="ADAL" clId="{61C63A30-27AF-4F69-9C13-883AAA1D373F}" dt="2021-08-06T11:18:49.098" v="13" actId="2696"/>
        <pc:sldMkLst>
          <pc:docMk/>
          <pc:sldMk cId="4242595069" sldId="2145706633"/>
        </pc:sldMkLst>
      </pc:sldChg>
    </pc:docChg>
  </pc:docChgLst>
  <pc:docChgLst>
    <pc:chgData name="Toney, Taraesa (CDC/DDID/NCEZID/OD) (CTR)" userId="461352ee-08a1-4677-9c6c-fe02fb8ae7d4" providerId="ADAL" clId="{91043C5A-75A0-4B1D-B687-A5873990472F}"/>
    <pc:docChg chg="modSld">
      <pc:chgData name="Toney, Taraesa (CDC/DDID/NCEZID/OD) (CTR)" userId="461352ee-08a1-4677-9c6c-fe02fb8ae7d4" providerId="ADAL" clId="{91043C5A-75A0-4B1D-B687-A5873990472F}" dt="2021-08-09T21:58:38.905" v="1" actId="20577"/>
      <pc:docMkLst>
        <pc:docMk/>
      </pc:docMkLst>
      <pc:sldChg chg="modSp mod">
        <pc:chgData name="Toney, Taraesa (CDC/DDID/NCEZID/OD) (CTR)" userId="461352ee-08a1-4677-9c6c-fe02fb8ae7d4" providerId="ADAL" clId="{91043C5A-75A0-4B1D-B687-A5873990472F}" dt="2021-08-09T21:58:38.905" v="1" actId="20577"/>
        <pc:sldMkLst>
          <pc:docMk/>
          <pc:sldMk cId="2657122771" sldId="2145706494"/>
        </pc:sldMkLst>
        <pc:spChg chg="mod">
          <ac:chgData name="Toney, Taraesa (CDC/DDID/NCEZID/OD) (CTR)" userId="461352ee-08a1-4677-9c6c-fe02fb8ae7d4" providerId="ADAL" clId="{91043C5A-75A0-4B1D-B687-A5873990472F}" dt="2021-08-09T21:58:38.905" v="1" actId="20577"/>
          <ac:spMkLst>
            <pc:docMk/>
            <pc:sldMk cId="2657122771" sldId="2145706494"/>
            <ac:spMk id="3" creationId="{3921232D-0D00-4652-84A6-C735EA4ECE6B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33C03299-4BB1-4AD2-828F-715F084383AD}" type="datetimeFigureOut">
              <a:rPr lang="en-US"/>
              <a:pPr>
                <a:defRPr/>
              </a:pPr>
              <a:t>8/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560888"/>
            <a:ext cx="5851525" cy="43195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EB38CAEC-4554-485B-9189-C45C7447A4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5838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B38CAEC-4554-485B-9189-C45C7447A404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3988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B38CAEC-4554-485B-9189-C45C7447A404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8521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jpeg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jpeg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5F35E44-72CB-4AFA-8DA6-C89EBC957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15" r="19754"/>
          <a:stretch/>
        </p:blipFill>
        <p:spPr>
          <a:xfrm>
            <a:off x="5210658" y="966372"/>
            <a:ext cx="3684774" cy="347584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92B0A619-F6AA-4053-9D4A-55C4BC7B0046}"/>
              </a:ext>
            </a:extLst>
          </p:cNvPr>
          <p:cNvSpPr/>
          <p:nvPr userDrawn="1"/>
        </p:nvSpPr>
        <p:spPr>
          <a:xfrm>
            <a:off x="314325" y="0"/>
            <a:ext cx="8829676" cy="895570"/>
          </a:xfrm>
          <a:prstGeom prst="rect">
            <a:avLst/>
          </a:prstGeom>
          <a:gradFill flip="none" rotWithShape="1">
            <a:gsLst>
              <a:gs pos="0">
                <a:srgbClr val="55BF8B"/>
              </a:gs>
              <a:gs pos="96000">
                <a:srgbClr val="145E71"/>
              </a:gs>
            </a:gsLst>
            <a:lin ang="12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 userDrawn="1">
            <p:ph type="title"/>
          </p:nvPr>
        </p:nvSpPr>
        <p:spPr>
          <a:xfrm>
            <a:off x="522515" y="9097"/>
            <a:ext cx="8621486" cy="86683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3000"/>
              </a:lnSpc>
              <a:defRPr sz="2800" b="1" baseline="0">
                <a:solidFill>
                  <a:schemeClr val="tx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ubtitle 2"/>
          <p:cNvSpPr>
            <a:spLocks noGrp="1"/>
          </p:cNvSpPr>
          <p:nvPr userDrawn="1">
            <p:ph type="subTitle" idx="1"/>
          </p:nvPr>
        </p:nvSpPr>
        <p:spPr>
          <a:xfrm>
            <a:off x="522515" y="1026256"/>
            <a:ext cx="7617144" cy="3429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1" baseline="0">
                <a:solidFill>
                  <a:srgbClr val="2D2D2D"/>
                </a:solidFill>
                <a:effectLst/>
                <a:latin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0"/>
          </p:nvPr>
        </p:nvSpPr>
        <p:spPr>
          <a:xfrm>
            <a:off x="462555" y="1890634"/>
            <a:ext cx="7617144" cy="77948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000"/>
              </a:lnSpc>
              <a:buNone/>
              <a:defRPr sz="1800" baseline="0">
                <a:solidFill>
                  <a:srgbClr val="2D2D2D"/>
                </a:solidFill>
                <a:latin typeface="Calibri" pitchFamily="34" charset="0"/>
              </a:defRPr>
            </a:lvl1pPr>
            <a:lvl2pPr algn="ctr">
              <a:defRPr>
                <a:solidFill>
                  <a:schemeClr val="tx2"/>
                </a:solidFill>
              </a:defRPr>
            </a:lvl2pPr>
            <a:lvl3pPr algn="ctr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tx2"/>
                </a:solidFill>
              </a:defRPr>
            </a:lvl4pPr>
            <a:lvl5pPr algn="ctr">
              <a:defRPr>
                <a:solidFill>
                  <a:schemeClr val="tx2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17" name="Picture 16" descr="Logos of the U.S. Department of Health and Human Services and Centers for Disease Control and Prevention" title="LOGO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439" y="4280109"/>
            <a:ext cx="1254584" cy="71925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54EDCE1-A912-48DB-9E58-051F8752A375}"/>
              </a:ext>
            </a:extLst>
          </p:cNvPr>
          <p:cNvSpPr txBox="1"/>
          <p:nvPr userDrawn="1"/>
        </p:nvSpPr>
        <p:spPr>
          <a:xfrm>
            <a:off x="4962089" y="4510542"/>
            <a:ext cx="4181912" cy="400110"/>
          </a:xfrm>
          <a:prstGeom prst="rect">
            <a:avLst/>
          </a:prstGeom>
          <a:solidFill>
            <a:srgbClr val="FBAB18"/>
          </a:solidFill>
        </p:spPr>
        <p:txBody>
          <a:bodyPr wrap="square" rtlCol="0">
            <a:spAutoFit/>
          </a:bodyPr>
          <a:lstStyle/>
          <a:p>
            <a:pPr marL="28575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>
                <a:solidFill>
                  <a:srgbClr val="2D2D2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dc.gov/coronaviru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900023D-2373-43F5-A4AA-FD7F91255A55}"/>
              </a:ext>
            </a:extLst>
          </p:cNvPr>
          <p:cNvGrpSpPr/>
          <p:nvPr userDrawn="1"/>
        </p:nvGrpSpPr>
        <p:grpSpPr>
          <a:xfrm>
            <a:off x="0" y="1"/>
            <a:ext cx="267157" cy="895570"/>
            <a:chOff x="2721769" y="2050256"/>
            <a:chExt cx="442912" cy="146966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75925BE-9EF0-43F9-9D78-64BD587500CA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9245E9D-1A1B-4F74-AD8C-354693087FC0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813044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40"/>
          <a:stretch/>
        </p:blipFill>
        <p:spPr>
          <a:xfrm>
            <a:off x="1956" y="4251554"/>
            <a:ext cx="9144000" cy="883169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27218" y="2746824"/>
            <a:ext cx="663934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  <a:t>For more information, contact CDC</a:t>
            </a:r>
            <a:b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  <a:t>1-800-CDC-INFO (232-4636)</a:t>
            </a:r>
            <a:b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  <a:t>TTY:  1-888-232-6348    www.cdc.gov</a:t>
            </a:r>
            <a:b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</a:br>
            <a:b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</a:br>
            <a:b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  <a:t>The findings and conclusions in this report are those of the authors and do not necessarily represent the official position of the Centers for Disease Control and Prevention.</a:t>
            </a:r>
          </a:p>
        </p:txBody>
      </p:sp>
      <p:pic>
        <p:nvPicPr>
          <p:cNvPr id="4" name="Picture 3" descr="Logos of the U.S. Department of Health and Human Services and the Centers for Disease Control and Prevention." title="Logo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46855"/>
            <a:ext cx="9144000" cy="887868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0" y="4246855"/>
            <a:ext cx="9144000" cy="887868"/>
            <a:chOff x="0" y="-11827"/>
            <a:chExt cx="9144000" cy="170018"/>
          </a:xfrm>
        </p:grpSpPr>
        <p:sp>
          <p:nvSpPr>
            <p:cNvPr id="6" name="bk object 25"/>
            <p:cNvSpPr/>
            <p:nvPr userDrawn="1"/>
          </p:nvSpPr>
          <p:spPr>
            <a:xfrm>
              <a:off x="0" y="-11827"/>
              <a:ext cx="522365" cy="170018"/>
            </a:xfrm>
            <a:custGeom>
              <a:avLst/>
              <a:gdLst/>
              <a:ahLst/>
              <a:cxnLst/>
              <a:rect l="l" t="t" r="r" b="b"/>
              <a:pathLst>
                <a:path w="1047115" h="1413510">
                  <a:moveTo>
                    <a:pt x="1046875" y="0"/>
                  </a:moveTo>
                  <a:lnTo>
                    <a:pt x="0" y="0"/>
                  </a:lnTo>
                  <a:lnTo>
                    <a:pt x="0" y="1412925"/>
                  </a:lnTo>
                  <a:lnTo>
                    <a:pt x="869393" y="1412925"/>
                  </a:lnTo>
                  <a:lnTo>
                    <a:pt x="1046875" y="0"/>
                  </a:lnTo>
                  <a:close/>
                </a:path>
              </a:pathLst>
            </a:custGeom>
            <a:solidFill>
              <a:srgbClr val="10306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bk object 26"/>
            <p:cNvSpPr/>
            <p:nvPr userDrawn="1"/>
          </p:nvSpPr>
          <p:spPr>
            <a:xfrm>
              <a:off x="340051" y="-11827"/>
              <a:ext cx="863535" cy="170018"/>
            </a:xfrm>
            <a:custGeom>
              <a:avLst/>
              <a:gdLst/>
              <a:ahLst/>
              <a:cxnLst/>
              <a:rect l="l" t="t" r="r" b="b"/>
              <a:pathLst>
                <a:path w="1731010" h="1413510">
                  <a:moveTo>
                    <a:pt x="1730918" y="0"/>
                  </a:moveTo>
                  <a:lnTo>
                    <a:pt x="179633" y="0"/>
                  </a:lnTo>
                  <a:lnTo>
                    <a:pt x="0" y="1412925"/>
                  </a:lnTo>
                  <a:lnTo>
                    <a:pt x="1296345" y="1412925"/>
                  </a:lnTo>
                  <a:lnTo>
                    <a:pt x="1730918" y="0"/>
                  </a:lnTo>
                  <a:close/>
                </a:path>
              </a:pathLst>
            </a:custGeom>
            <a:solidFill>
              <a:srgbClr val="1D56B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bk object 27"/>
            <p:cNvSpPr/>
            <p:nvPr userDrawn="1"/>
          </p:nvSpPr>
          <p:spPr>
            <a:xfrm>
              <a:off x="878274" y="-11827"/>
              <a:ext cx="1343452" cy="170018"/>
            </a:xfrm>
            <a:custGeom>
              <a:avLst/>
              <a:gdLst/>
              <a:ahLst/>
              <a:cxnLst/>
              <a:rect l="l" t="t" r="r" b="b"/>
              <a:pathLst>
                <a:path w="2693035" h="1413510">
                  <a:moveTo>
                    <a:pt x="2692774" y="0"/>
                  </a:moveTo>
                  <a:lnTo>
                    <a:pt x="435654" y="0"/>
                  </a:lnTo>
                  <a:lnTo>
                    <a:pt x="0" y="1412925"/>
                  </a:lnTo>
                  <a:lnTo>
                    <a:pt x="1878492" y="1412925"/>
                  </a:lnTo>
                  <a:lnTo>
                    <a:pt x="2692774" y="0"/>
                  </a:lnTo>
                  <a:close/>
                </a:path>
              </a:pathLst>
            </a:custGeom>
            <a:solidFill>
              <a:srgbClr val="10306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bk object 28"/>
            <p:cNvSpPr/>
            <p:nvPr userDrawn="1"/>
          </p:nvSpPr>
          <p:spPr>
            <a:xfrm>
              <a:off x="1654598" y="-11827"/>
              <a:ext cx="1362458" cy="170018"/>
            </a:xfrm>
            <a:custGeom>
              <a:avLst/>
              <a:gdLst/>
              <a:ahLst/>
              <a:cxnLst/>
              <a:rect l="l" t="t" r="r" b="b"/>
              <a:pathLst>
                <a:path w="2731134" h="1413510">
                  <a:moveTo>
                    <a:pt x="2730969" y="0"/>
                  </a:moveTo>
                  <a:lnTo>
                    <a:pt x="816445" y="0"/>
                  </a:lnTo>
                  <a:lnTo>
                    <a:pt x="0" y="1412925"/>
                  </a:lnTo>
                  <a:lnTo>
                    <a:pt x="1593978" y="1412925"/>
                  </a:lnTo>
                  <a:lnTo>
                    <a:pt x="2730969" y="0"/>
                  </a:lnTo>
                  <a:close/>
                </a:path>
              </a:pathLst>
            </a:custGeom>
            <a:solidFill>
              <a:srgbClr val="1E59B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bk object 29"/>
            <p:cNvSpPr/>
            <p:nvPr userDrawn="1"/>
          </p:nvSpPr>
          <p:spPr>
            <a:xfrm>
              <a:off x="2304805" y="-11827"/>
              <a:ext cx="937659" cy="170018"/>
            </a:xfrm>
            <a:custGeom>
              <a:avLst/>
              <a:gdLst/>
              <a:ahLst/>
              <a:cxnLst/>
              <a:rect l="l" t="t" r="r" b="b"/>
              <a:pathLst>
                <a:path w="1879600" h="1413510">
                  <a:moveTo>
                    <a:pt x="1879368" y="0"/>
                  </a:moveTo>
                  <a:lnTo>
                    <a:pt x="1140221" y="0"/>
                  </a:lnTo>
                  <a:lnTo>
                    <a:pt x="0" y="1412925"/>
                  </a:lnTo>
                  <a:lnTo>
                    <a:pt x="621900" y="1412925"/>
                  </a:lnTo>
                  <a:lnTo>
                    <a:pt x="1879368" y="0"/>
                  </a:lnTo>
                  <a:close/>
                </a:path>
              </a:pathLst>
            </a:custGeom>
            <a:solidFill>
              <a:srgbClr val="17468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bk object 30"/>
            <p:cNvSpPr/>
            <p:nvPr userDrawn="1"/>
          </p:nvSpPr>
          <p:spPr>
            <a:xfrm>
              <a:off x="2554809" y="-11827"/>
              <a:ext cx="2483849" cy="170018"/>
            </a:xfrm>
            <a:custGeom>
              <a:avLst/>
              <a:gdLst/>
              <a:ahLst/>
              <a:cxnLst/>
              <a:rect l="l" t="t" r="r" b="b"/>
              <a:pathLst>
                <a:path w="4979034" h="1413510">
                  <a:moveTo>
                    <a:pt x="4978576" y="0"/>
                  </a:moveTo>
                  <a:lnTo>
                    <a:pt x="1262846" y="0"/>
                  </a:lnTo>
                  <a:lnTo>
                    <a:pt x="0" y="1412925"/>
                  </a:lnTo>
                  <a:lnTo>
                    <a:pt x="3093828" y="1412925"/>
                  </a:lnTo>
                  <a:lnTo>
                    <a:pt x="4978576" y="0"/>
                  </a:lnTo>
                  <a:close/>
                </a:path>
              </a:pathLst>
            </a:custGeom>
            <a:solidFill>
              <a:srgbClr val="1E59B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bk object 31"/>
            <p:cNvSpPr/>
            <p:nvPr userDrawn="1"/>
          </p:nvSpPr>
          <p:spPr>
            <a:xfrm>
              <a:off x="3835845" y="-11827"/>
              <a:ext cx="1915234" cy="170018"/>
            </a:xfrm>
            <a:custGeom>
              <a:avLst/>
              <a:gdLst/>
              <a:ahLst/>
              <a:cxnLst/>
              <a:rect l="l" t="t" r="r" b="b"/>
              <a:pathLst>
                <a:path w="3839209" h="1413510">
                  <a:moveTo>
                    <a:pt x="3838727" y="0"/>
                  </a:moveTo>
                  <a:lnTo>
                    <a:pt x="1891189" y="0"/>
                  </a:lnTo>
                  <a:lnTo>
                    <a:pt x="0" y="1412925"/>
                  </a:lnTo>
                  <a:lnTo>
                    <a:pt x="1625414" y="1412925"/>
                  </a:lnTo>
                  <a:lnTo>
                    <a:pt x="3838727" y="0"/>
                  </a:lnTo>
                  <a:close/>
                </a:path>
              </a:pathLst>
            </a:custGeom>
            <a:solidFill>
              <a:srgbClr val="536DB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bk object 32"/>
            <p:cNvSpPr/>
            <p:nvPr userDrawn="1"/>
          </p:nvSpPr>
          <p:spPr>
            <a:xfrm>
              <a:off x="4458868" y="-11827"/>
              <a:ext cx="4685132" cy="170018"/>
            </a:xfrm>
            <a:custGeom>
              <a:avLst/>
              <a:gdLst/>
              <a:ahLst/>
              <a:cxnLst/>
              <a:rect l="l" t="t" r="r" b="b"/>
              <a:pathLst>
                <a:path w="9391650" h="1413510">
                  <a:moveTo>
                    <a:pt x="9391076" y="0"/>
                  </a:moveTo>
                  <a:lnTo>
                    <a:pt x="2213316" y="0"/>
                  </a:lnTo>
                  <a:lnTo>
                    <a:pt x="0" y="1412929"/>
                  </a:lnTo>
                  <a:lnTo>
                    <a:pt x="9391076" y="1412929"/>
                  </a:lnTo>
                  <a:lnTo>
                    <a:pt x="9391076" y="0"/>
                  </a:lnTo>
                  <a:close/>
                </a:path>
              </a:pathLst>
            </a:custGeom>
            <a:gradFill>
              <a:gsLst>
                <a:gs pos="0">
                  <a:srgbClr val="103064"/>
                </a:gs>
                <a:gs pos="100000">
                  <a:srgbClr val="17468F"/>
                </a:gs>
              </a:gsLst>
              <a:lin ang="0" scaled="0"/>
            </a:gra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6" name="Picture 15" descr="Logos of the U.S. Department of Health and Human Services and Centers for Disease Control and Prevention" title="LOGOS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0326" y="4339940"/>
            <a:ext cx="1254584" cy="71925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08E3E0E-8007-4E08-9AE4-D29BCAE7C5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15" r="19754"/>
          <a:stretch/>
        </p:blipFill>
        <p:spPr>
          <a:xfrm>
            <a:off x="5334256" y="175641"/>
            <a:ext cx="3684774" cy="3475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84295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40"/>
          <a:stretch/>
        </p:blipFill>
        <p:spPr>
          <a:xfrm>
            <a:off x="1956" y="4251554"/>
            <a:ext cx="9144000" cy="883169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27218" y="2746824"/>
            <a:ext cx="663934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  <a:t>For more information, contact CDC</a:t>
            </a:r>
            <a:b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  <a:t>1-800-CDC-INFO (232-4636)</a:t>
            </a:r>
            <a:b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  <a:t>TTY:  1-888-232-6348    www.cdc.gov</a:t>
            </a:r>
            <a:b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</a:br>
            <a:b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</a:br>
            <a:b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200">
                <a:solidFill>
                  <a:srgbClr val="2D2D2D"/>
                </a:solidFill>
                <a:latin typeface="Calibri" panose="020F0502020204030204" pitchFamily="34" charset="0"/>
              </a:rPr>
              <a:t>The findings and conclusions in this report are those of the authors and do not necessarily represent the official position of the Centers for Disease Control and Prevention.</a:t>
            </a:r>
          </a:p>
        </p:txBody>
      </p:sp>
      <p:pic>
        <p:nvPicPr>
          <p:cNvPr id="4" name="Picture 3" descr="Logos of the U.S. Department of Health and Human Services and the Centers for Disease Control and Prevention." title="Logo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46855"/>
            <a:ext cx="9144000" cy="887868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0" y="4246855"/>
            <a:ext cx="9144000" cy="887868"/>
            <a:chOff x="0" y="-11827"/>
            <a:chExt cx="9144000" cy="170018"/>
          </a:xfrm>
        </p:grpSpPr>
        <p:sp>
          <p:nvSpPr>
            <p:cNvPr id="6" name="bk object 25"/>
            <p:cNvSpPr/>
            <p:nvPr userDrawn="1"/>
          </p:nvSpPr>
          <p:spPr>
            <a:xfrm>
              <a:off x="0" y="-11827"/>
              <a:ext cx="522365" cy="170018"/>
            </a:xfrm>
            <a:custGeom>
              <a:avLst/>
              <a:gdLst/>
              <a:ahLst/>
              <a:cxnLst/>
              <a:rect l="l" t="t" r="r" b="b"/>
              <a:pathLst>
                <a:path w="1047115" h="1413510">
                  <a:moveTo>
                    <a:pt x="1046875" y="0"/>
                  </a:moveTo>
                  <a:lnTo>
                    <a:pt x="0" y="0"/>
                  </a:lnTo>
                  <a:lnTo>
                    <a:pt x="0" y="1412925"/>
                  </a:lnTo>
                  <a:lnTo>
                    <a:pt x="869393" y="1412925"/>
                  </a:lnTo>
                  <a:lnTo>
                    <a:pt x="1046875" y="0"/>
                  </a:lnTo>
                  <a:close/>
                </a:path>
              </a:pathLst>
            </a:custGeom>
            <a:solidFill>
              <a:srgbClr val="10306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bk object 26"/>
            <p:cNvSpPr/>
            <p:nvPr userDrawn="1"/>
          </p:nvSpPr>
          <p:spPr>
            <a:xfrm>
              <a:off x="340051" y="-11827"/>
              <a:ext cx="863535" cy="170018"/>
            </a:xfrm>
            <a:custGeom>
              <a:avLst/>
              <a:gdLst/>
              <a:ahLst/>
              <a:cxnLst/>
              <a:rect l="l" t="t" r="r" b="b"/>
              <a:pathLst>
                <a:path w="1731010" h="1413510">
                  <a:moveTo>
                    <a:pt x="1730918" y="0"/>
                  </a:moveTo>
                  <a:lnTo>
                    <a:pt x="179633" y="0"/>
                  </a:lnTo>
                  <a:lnTo>
                    <a:pt x="0" y="1412925"/>
                  </a:lnTo>
                  <a:lnTo>
                    <a:pt x="1296345" y="1412925"/>
                  </a:lnTo>
                  <a:lnTo>
                    <a:pt x="1730918" y="0"/>
                  </a:lnTo>
                  <a:close/>
                </a:path>
              </a:pathLst>
            </a:custGeom>
            <a:solidFill>
              <a:srgbClr val="1D56B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bk object 27"/>
            <p:cNvSpPr/>
            <p:nvPr userDrawn="1"/>
          </p:nvSpPr>
          <p:spPr>
            <a:xfrm>
              <a:off x="878274" y="-11827"/>
              <a:ext cx="1343452" cy="170018"/>
            </a:xfrm>
            <a:custGeom>
              <a:avLst/>
              <a:gdLst/>
              <a:ahLst/>
              <a:cxnLst/>
              <a:rect l="l" t="t" r="r" b="b"/>
              <a:pathLst>
                <a:path w="2693035" h="1413510">
                  <a:moveTo>
                    <a:pt x="2692774" y="0"/>
                  </a:moveTo>
                  <a:lnTo>
                    <a:pt x="435654" y="0"/>
                  </a:lnTo>
                  <a:lnTo>
                    <a:pt x="0" y="1412925"/>
                  </a:lnTo>
                  <a:lnTo>
                    <a:pt x="1878492" y="1412925"/>
                  </a:lnTo>
                  <a:lnTo>
                    <a:pt x="2692774" y="0"/>
                  </a:lnTo>
                  <a:close/>
                </a:path>
              </a:pathLst>
            </a:custGeom>
            <a:solidFill>
              <a:srgbClr val="10306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bk object 28"/>
            <p:cNvSpPr/>
            <p:nvPr userDrawn="1"/>
          </p:nvSpPr>
          <p:spPr>
            <a:xfrm>
              <a:off x="1654598" y="-11827"/>
              <a:ext cx="1362458" cy="170018"/>
            </a:xfrm>
            <a:custGeom>
              <a:avLst/>
              <a:gdLst/>
              <a:ahLst/>
              <a:cxnLst/>
              <a:rect l="l" t="t" r="r" b="b"/>
              <a:pathLst>
                <a:path w="2731134" h="1413510">
                  <a:moveTo>
                    <a:pt x="2730969" y="0"/>
                  </a:moveTo>
                  <a:lnTo>
                    <a:pt x="816445" y="0"/>
                  </a:lnTo>
                  <a:lnTo>
                    <a:pt x="0" y="1412925"/>
                  </a:lnTo>
                  <a:lnTo>
                    <a:pt x="1593978" y="1412925"/>
                  </a:lnTo>
                  <a:lnTo>
                    <a:pt x="2730969" y="0"/>
                  </a:lnTo>
                  <a:close/>
                </a:path>
              </a:pathLst>
            </a:custGeom>
            <a:solidFill>
              <a:srgbClr val="1E59B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bk object 29"/>
            <p:cNvSpPr/>
            <p:nvPr userDrawn="1"/>
          </p:nvSpPr>
          <p:spPr>
            <a:xfrm>
              <a:off x="2304805" y="-11827"/>
              <a:ext cx="937659" cy="170018"/>
            </a:xfrm>
            <a:custGeom>
              <a:avLst/>
              <a:gdLst/>
              <a:ahLst/>
              <a:cxnLst/>
              <a:rect l="l" t="t" r="r" b="b"/>
              <a:pathLst>
                <a:path w="1879600" h="1413510">
                  <a:moveTo>
                    <a:pt x="1879368" y="0"/>
                  </a:moveTo>
                  <a:lnTo>
                    <a:pt x="1140221" y="0"/>
                  </a:lnTo>
                  <a:lnTo>
                    <a:pt x="0" y="1412925"/>
                  </a:lnTo>
                  <a:lnTo>
                    <a:pt x="621900" y="1412925"/>
                  </a:lnTo>
                  <a:lnTo>
                    <a:pt x="1879368" y="0"/>
                  </a:lnTo>
                  <a:close/>
                </a:path>
              </a:pathLst>
            </a:custGeom>
            <a:solidFill>
              <a:srgbClr val="17468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bk object 30"/>
            <p:cNvSpPr/>
            <p:nvPr userDrawn="1"/>
          </p:nvSpPr>
          <p:spPr>
            <a:xfrm>
              <a:off x="2554809" y="-11827"/>
              <a:ext cx="2483849" cy="170018"/>
            </a:xfrm>
            <a:custGeom>
              <a:avLst/>
              <a:gdLst/>
              <a:ahLst/>
              <a:cxnLst/>
              <a:rect l="l" t="t" r="r" b="b"/>
              <a:pathLst>
                <a:path w="4979034" h="1413510">
                  <a:moveTo>
                    <a:pt x="4978576" y="0"/>
                  </a:moveTo>
                  <a:lnTo>
                    <a:pt x="1262846" y="0"/>
                  </a:lnTo>
                  <a:lnTo>
                    <a:pt x="0" y="1412925"/>
                  </a:lnTo>
                  <a:lnTo>
                    <a:pt x="3093828" y="1412925"/>
                  </a:lnTo>
                  <a:lnTo>
                    <a:pt x="4978576" y="0"/>
                  </a:lnTo>
                  <a:close/>
                </a:path>
              </a:pathLst>
            </a:custGeom>
            <a:solidFill>
              <a:srgbClr val="1E59B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bk object 31"/>
            <p:cNvSpPr/>
            <p:nvPr userDrawn="1"/>
          </p:nvSpPr>
          <p:spPr>
            <a:xfrm>
              <a:off x="3835845" y="-11827"/>
              <a:ext cx="1915234" cy="170018"/>
            </a:xfrm>
            <a:custGeom>
              <a:avLst/>
              <a:gdLst/>
              <a:ahLst/>
              <a:cxnLst/>
              <a:rect l="l" t="t" r="r" b="b"/>
              <a:pathLst>
                <a:path w="3839209" h="1413510">
                  <a:moveTo>
                    <a:pt x="3838727" y="0"/>
                  </a:moveTo>
                  <a:lnTo>
                    <a:pt x="1891189" y="0"/>
                  </a:lnTo>
                  <a:lnTo>
                    <a:pt x="0" y="1412925"/>
                  </a:lnTo>
                  <a:lnTo>
                    <a:pt x="1625414" y="1412925"/>
                  </a:lnTo>
                  <a:lnTo>
                    <a:pt x="3838727" y="0"/>
                  </a:lnTo>
                  <a:close/>
                </a:path>
              </a:pathLst>
            </a:custGeom>
            <a:solidFill>
              <a:srgbClr val="536DB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bk object 32"/>
            <p:cNvSpPr/>
            <p:nvPr userDrawn="1"/>
          </p:nvSpPr>
          <p:spPr>
            <a:xfrm>
              <a:off x="4458868" y="-11827"/>
              <a:ext cx="4685132" cy="170018"/>
            </a:xfrm>
            <a:custGeom>
              <a:avLst/>
              <a:gdLst/>
              <a:ahLst/>
              <a:cxnLst/>
              <a:rect l="l" t="t" r="r" b="b"/>
              <a:pathLst>
                <a:path w="9391650" h="1413510">
                  <a:moveTo>
                    <a:pt x="9391076" y="0"/>
                  </a:moveTo>
                  <a:lnTo>
                    <a:pt x="2213316" y="0"/>
                  </a:lnTo>
                  <a:lnTo>
                    <a:pt x="0" y="1412929"/>
                  </a:lnTo>
                  <a:lnTo>
                    <a:pt x="9391076" y="1412929"/>
                  </a:lnTo>
                  <a:lnTo>
                    <a:pt x="9391076" y="0"/>
                  </a:lnTo>
                  <a:close/>
                </a:path>
              </a:pathLst>
            </a:custGeom>
            <a:gradFill>
              <a:gsLst>
                <a:gs pos="0">
                  <a:srgbClr val="103064"/>
                </a:gs>
                <a:gs pos="100000">
                  <a:srgbClr val="17468F"/>
                </a:gs>
              </a:gsLst>
              <a:lin ang="0" scaled="0"/>
            </a:gra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6" name="Picture 15" descr="Logos of the U.S. Department of Health and Human Services and Centers for Disease Control and Prevention" title="LOGOS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0326" y="4339940"/>
            <a:ext cx="1254584" cy="71925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2A43ECC-BBFF-4967-9F45-5667FFC0EE1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2543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65372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TA SLIDE_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3000"/>
              </a:lnSpc>
              <a:defRPr sz="2800" b="1" baseline="0">
                <a:solidFill>
                  <a:srgbClr val="0039A6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742" b="-5052"/>
          <a:stretch/>
        </p:blipFill>
        <p:spPr>
          <a:xfrm>
            <a:off x="6438" y="5018218"/>
            <a:ext cx="9144001" cy="186744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158875"/>
            <a:ext cx="8229600" cy="3341688"/>
          </a:xfrm>
        </p:spPr>
        <p:txBody>
          <a:bodyPr/>
          <a:lstStyle>
            <a:lvl1pPr marL="342900" indent="-342900">
              <a:spcBef>
                <a:spcPts val="0"/>
              </a:spcBef>
              <a:buClr>
                <a:srgbClr val="0039A6"/>
              </a:buClr>
              <a:buFont typeface="Wingdings" panose="05000000000000000000" pitchFamily="2" charset="2"/>
              <a:buChar char="§"/>
              <a:defRPr sz="2000">
                <a:solidFill>
                  <a:srgbClr val="000000"/>
                </a:solidFill>
              </a:defRPr>
            </a:lvl1pPr>
            <a:lvl2pPr>
              <a:spcBef>
                <a:spcPts val="0"/>
              </a:spcBef>
              <a:buClr>
                <a:srgbClr val="0039A6"/>
              </a:buClr>
              <a:defRPr sz="2000">
                <a:solidFill>
                  <a:srgbClr val="000000"/>
                </a:solidFill>
              </a:defRPr>
            </a:lvl2pPr>
            <a:lvl3pPr>
              <a:spcBef>
                <a:spcPts val="0"/>
              </a:spcBef>
              <a:buClr>
                <a:srgbClr val="0039A6"/>
              </a:buClr>
              <a:defRPr sz="2000">
                <a:solidFill>
                  <a:srgbClr val="000000"/>
                </a:solidFill>
              </a:defRPr>
            </a:lvl3pPr>
            <a:lvl4pPr>
              <a:defRPr sz="2000">
                <a:solidFill>
                  <a:schemeClr val="accent4">
                    <a:lumMod val="75000"/>
                  </a:schemeClr>
                </a:solidFill>
              </a:defRPr>
            </a:lvl4pPr>
            <a:lvl5pPr>
              <a:defRPr sz="2000">
                <a:solidFill>
                  <a:schemeClr val="accent4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Line 6"/>
          <p:cNvSpPr>
            <a:spLocks noChangeShapeType="1"/>
          </p:cNvSpPr>
          <p:nvPr userDrawn="1"/>
        </p:nvSpPr>
        <p:spPr bwMode="auto">
          <a:xfrm>
            <a:off x="457200" y="1109483"/>
            <a:ext cx="8229600" cy="0"/>
          </a:xfrm>
          <a:prstGeom prst="line">
            <a:avLst/>
          </a:prstGeom>
          <a:noFill/>
          <a:ln w="25400">
            <a:solidFill>
              <a:srgbClr val="0039A6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ln>
                <a:solidFill>
                  <a:srgbClr val="002060">
                    <a:lumMod val="50000"/>
                    <a:lumOff val="50000"/>
                  </a:srgbClr>
                </a:solidFill>
              </a:ln>
              <a:solidFill>
                <a:srgbClr val="0F56DC"/>
              </a:solidFill>
              <a:latin typeface="Arial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747738" y="4744870"/>
            <a:ext cx="396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16C56A00-B67A-4726-B07D-3A7D659B2E50}" type="slidenum">
              <a:rPr lang="en-US" sz="1400" smtClean="0">
                <a:solidFill>
                  <a:srgbClr val="000000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en-US" sz="14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A352693-A0B5-4AF6-9364-E9A0F99BCF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4509" y="4867411"/>
            <a:ext cx="7779170" cy="140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16514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 Title, Bar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1" y="205979"/>
            <a:ext cx="7178463" cy="85725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3000"/>
              </a:lnSpc>
              <a:defRPr sz="2800" b="1" baseline="0">
                <a:solidFill>
                  <a:srgbClr val="0039A6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742" b="-5052"/>
          <a:stretch/>
        </p:blipFill>
        <p:spPr>
          <a:xfrm>
            <a:off x="-1" y="5013447"/>
            <a:ext cx="9144001" cy="186744"/>
          </a:xfrm>
          <a:prstGeom prst="rect">
            <a:avLst/>
          </a:prstGeom>
        </p:spPr>
      </p:pic>
      <p:sp>
        <p:nvSpPr>
          <p:cNvPr id="6" name="Line 6"/>
          <p:cNvSpPr>
            <a:spLocks noChangeShapeType="1"/>
          </p:cNvSpPr>
          <p:nvPr userDrawn="1"/>
        </p:nvSpPr>
        <p:spPr bwMode="auto">
          <a:xfrm>
            <a:off x="457200" y="1109483"/>
            <a:ext cx="8229600" cy="0"/>
          </a:xfrm>
          <a:prstGeom prst="line">
            <a:avLst/>
          </a:prstGeom>
          <a:noFill/>
          <a:ln w="25400">
            <a:solidFill>
              <a:srgbClr val="0039A6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ln>
                <a:solidFill>
                  <a:srgbClr val="002060">
                    <a:lumMod val="50000"/>
                    <a:lumOff val="50000"/>
                  </a:srgbClr>
                </a:solidFill>
              </a:ln>
              <a:solidFill>
                <a:srgbClr val="0F56DC"/>
              </a:solidFill>
              <a:latin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/>
          <a:srcRect l="10000" r="4917" b="-2800"/>
          <a:stretch/>
        </p:blipFill>
        <p:spPr>
          <a:xfrm>
            <a:off x="681990" y="4912766"/>
            <a:ext cx="7780020" cy="139882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8747738" y="4744870"/>
            <a:ext cx="396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16C56A00-B67A-4726-B07D-3A7D659B2E50}" type="slidenum">
              <a:rPr lang="en-US" sz="1400" smtClean="0">
                <a:solidFill>
                  <a:srgbClr val="000000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en-US" sz="14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ED0A24B-D62E-4FB3-AF80-330CA1B4E4F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733540" y="93234"/>
            <a:ext cx="1319019" cy="740664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9B4A1E1-958B-453E-9FB2-17E3AF2C7E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58875"/>
            <a:ext cx="8229600" cy="3707633"/>
          </a:xfrm>
        </p:spPr>
        <p:txBody>
          <a:bodyPr/>
          <a:lstStyle>
            <a:lvl1pPr marL="342892" indent="-342892">
              <a:spcBef>
                <a:spcPts val="0"/>
              </a:spcBef>
              <a:buClr>
                <a:srgbClr val="0039A6"/>
              </a:buClr>
              <a:buFont typeface="Wingdings" panose="05000000000000000000" pitchFamily="2" charset="2"/>
              <a:buChar char="§"/>
              <a:defRPr sz="2000">
                <a:solidFill>
                  <a:srgbClr val="000000"/>
                </a:solidFill>
              </a:defRPr>
            </a:lvl1pPr>
            <a:lvl2pPr marL="627047" indent="-285743">
              <a:spcBef>
                <a:spcPts val="0"/>
              </a:spcBef>
              <a:buClr>
                <a:srgbClr val="003CA5"/>
              </a:buClr>
              <a:defRPr sz="1800">
                <a:solidFill>
                  <a:srgbClr val="000000"/>
                </a:solidFill>
              </a:defRPr>
            </a:lvl2pPr>
            <a:lvl3pPr marL="854054" indent="-228594">
              <a:spcBef>
                <a:spcPts val="0"/>
              </a:spcBef>
              <a:buClr>
                <a:srgbClr val="003CA5"/>
              </a:buClr>
              <a:defRPr sz="1600">
                <a:solidFill>
                  <a:srgbClr val="000000"/>
                </a:solidFill>
              </a:defRPr>
            </a:lvl3pPr>
            <a:lvl4pPr>
              <a:defRPr sz="2000">
                <a:solidFill>
                  <a:schemeClr val="accent4">
                    <a:lumMod val="75000"/>
                  </a:schemeClr>
                </a:solidFill>
              </a:defRPr>
            </a:lvl4pPr>
            <a:lvl5pPr>
              <a:defRPr sz="2000">
                <a:solidFill>
                  <a:schemeClr val="accent4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62357758"/>
      </p:ext>
    </p:extLst>
  </p:cSld>
  <p:clrMapOvr>
    <a:masterClrMapping/>
  </p:clrMapOvr>
  <p:transition>
    <p:fade/>
  </p:transition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Y3 - Content w Title, Text - N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1" y="205979"/>
            <a:ext cx="7184899" cy="85725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3000"/>
              </a:lnSpc>
              <a:defRPr sz="2800" b="1" baseline="0">
                <a:solidFill>
                  <a:srgbClr val="0039A6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A73C34C-C018-4729-BEEF-4B9A657642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33540" y="93234"/>
            <a:ext cx="1319019" cy="740664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85A62281-DC70-4A57-AADB-39376202AAA1}"/>
              </a:ext>
            </a:extLst>
          </p:cNvPr>
          <p:cNvSpPr/>
          <p:nvPr userDrawn="1"/>
        </p:nvSpPr>
        <p:spPr>
          <a:xfrm>
            <a:off x="91440" y="90965"/>
            <a:ext cx="457200" cy="457200"/>
          </a:xfrm>
          <a:prstGeom prst="ellipse">
            <a:avLst/>
          </a:prstGeom>
          <a:solidFill>
            <a:srgbClr val="FFFF00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3">
              <a:defRPr/>
            </a:pPr>
            <a:r>
              <a:rPr lang="en-US" sz="1800">
                <a:solidFill>
                  <a:srgbClr val="000000"/>
                </a:solidFill>
                <a:latin typeface="Myriad Web Pro"/>
                <a:cs typeface="Calibri"/>
              </a:rPr>
              <a:t>Y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F8C9040-7D53-4760-8066-1C26844F17D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58875"/>
            <a:ext cx="8229600" cy="3707633"/>
          </a:xfrm>
        </p:spPr>
        <p:txBody>
          <a:bodyPr/>
          <a:lstStyle>
            <a:lvl1pPr marL="342892" indent="-342892">
              <a:spcBef>
                <a:spcPts val="0"/>
              </a:spcBef>
              <a:buClr>
                <a:srgbClr val="0039A6"/>
              </a:buClr>
              <a:buFont typeface="Wingdings" panose="05000000000000000000" pitchFamily="2" charset="2"/>
              <a:buChar char="§"/>
              <a:defRPr sz="2000">
                <a:solidFill>
                  <a:srgbClr val="000000"/>
                </a:solidFill>
              </a:defRPr>
            </a:lvl1pPr>
            <a:lvl2pPr marL="627047" indent="-285743">
              <a:spcBef>
                <a:spcPts val="0"/>
              </a:spcBef>
              <a:buClr>
                <a:srgbClr val="003CA5"/>
              </a:buClr>
              <a:defRPr sz="1800">
                <a:solidFill>
                  <a:srgbClr val="000000"/>
                </a:solidFill>
              </a:defRPr>
            </a:lvl2pPr>
            <a:lvl3pPr marL="854054" indent="-228594">
              <a:spcBef>
                <a:spcPts val="0"/>
              </a:spcBef>
              <a:buClr>
                <a:srgbClr val="003CA5"/>
              </a:buClr>
              <a:defRPr sz="1600">
                <a:solidFill>
                  <a:srgbClr val="000000"/>
                </a:solidFill>
              </a:defRPr>
            </a:lvl3pPr>
            <a:lvl4pPr>
              <a:defRPr sz="2000">
                <a:solidFill>
                  <a:schemeClr val="accent4">
                    <a:lumMod val="75000"/>
                  </a:schemeClr>
                </a:solidFill>
              </a:defRPr>
            </a:lvl4pPr>
            <a:lvl5pPr>
              <a:defRPr sz="2000">
                <a:solidFill>
                  <a:schemeClr val="accent4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B1BF65-439D-4647-B0C4-702BB2CCD1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742" b="-5052"/>
          <a:stretch/>
        </p:blipFill>
        <p:spPr>
          <a:xfrm>
            <a:off x="-1" y="5013447"/>
            <a:ext cx="9144001" cy="1867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AC109B7-B57B-468F-A93A-E809391C4D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0000" r="4917" b="-2800"/>
          <a:stretch/>
        </p:blipFill>
        <p:spPr>
          <a:xfrm>
            <a:off x="681990" y="4912766"/>
            <a:ext cx="7780020" cy="13988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1802A7F-845A-485E-957F-8371D43EA401}"/>
              </a:ext>
            </a:extLst>
          </p:cNvPr>
          <p:cNvSpPr txBox="1"/>
          <p:nvPr userDrawn="1"/>
        </p:nvSpPr>
        <p:spPr>
          <a:xfrm>
            <a:off x="8747738" y="4744870"/>
            <a:ext cx="396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16C56A00-B67A-4726-B07D-3A7D659B2E50}" type="slidenum">
              <a:rPr lang="en-US" sz="1400" smtClean="0">
                <a:solidFill>
                  <a:srgbClr val="000000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en-US" sz="14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218062"/>
      </p:ext>
    </p:extLst>
  </p:cSld>
  <p:clrMapOvr>
    <a:masterClrMapping/>
  </p:clrMapOvr>
  <p:transition>
    <p:fade/>
  </p:transition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92B0A619-F6AA-4053-9D4A-55C4BC7B0046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55BF8B"/>
              </a:gs>
              <a:gs pos="96000">
                <a:srgbClr val="145E71"/>
              </a:gs>
            </a:gsLst>
            <a:lin ang="12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 userDrawn="1">
            <p:ph type="title"/>
          </p:nvPr>
        </p:nvSpPr>
        <p:spPr>
          <a:xfrm>
            <a:off x="685801" y="9097"/>
            <a:ext cx="8458200" cy="86683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3000"/>
              </a:lnSpc>
              <a:defRPr sz="2800" b="1" baseline="0">
                <a:solidFill>
                  <a:schemeClr val="tx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1" y="1061976"/>
            <a:ext cx="7453858" cy="3429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1" baseline="0">
                <a:solidFill>
                  <a:schemeClr val="tx2"/>
                </a:solidFill>
                <a:effectLst/>
                <a:latin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0"/>
          </p:nvPr>
        </p:nvSpPr>
        <p:spPr>
          <a:xfrm>
            <a:off x="685801" y="1890634"/>
            <a:ext cx="7393898" cy="77948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000"/>
              </a:lnSpc>
              <a:buNone/>
              <a:defRPr sz="1800" baseline="0">
                <a:solidFill>
                  <a:schemeClr val="tx2"/>
                </a:solidFill>
                <a:latin typeface="Calibri" pitchFamily="34" charset="0"/>
              </a:defRPr>
            </a:lvl1pPr>
            <a:lvl2pPr algn="ctr">
              <a:defRPr>
                <a:solidFill>
                  <a:schemeClr val="tx2"/>
                </a:solidFill>
              </a:defRPr>
            </a:lvl2pPr>
            <a:lvl3pPr algn="ctr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tx2"/>
                </a:solidFill>
              </a:defRPr>
            </a:lvl4pPr>
            <a:lvl5pPr algn="ctr">
              <a:defRPr>
                <a:solidFill>
                  <a:schemeClr val="tx2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17" name="Picture 16" descr="Logos of the U.S. Department of Health and Human Services and Centers for Disease Control and Prevention" title="LOGO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439" y="4280109"/>
            <a:ext cx="1254584" cy="719251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CC3D0F8F-59A2-423C-A3F9-4CCC5E04EB88}"/>
              </a:ext>
            </a:extLst>
          </p:cNvPr>
          <p:cNvGrpSpPr/>
          <p:nvPr userDrawn="1"/>
        </p:nvGrpSpPr>
        <p:grpSpPr>
          <a:xfrm>
            <a:off x="0" y="1"/>
            <a:ext cx="267157" cy="895570"/>
            <a:chOff x="2721769" y="2050256"/>
            <a:chExt cx="442912" cy="146966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32F05D3-C03C-45E4-9FA9-D106B2E80059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86CBDE1-9FE4-4D39-8D29-C02C77614B0D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031030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6082666" y="5045515"/>
            <a:ext cx="603083" cy="91188"/>
          </a:xfrm>
          <a:prstGeom prst="rect">
            <a:avLst/>
          </a:prstGeom>
          <a:solidFill>
            <a:srgbClr val="B01519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6677884" y="5045515"/>
            <a:ext cx="603083" cy="91188"/>
          </a:xfrm>
          <a:prstGeom prst="rect">
            <a:avLst/>
          </a:prstGeom>
          <a:solidFill>
            <a:srgbClr val="FBAB18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7280966" y="5045515"/>
            <a:ext cx="603574" cy="91188"/>
          </a:xfrm>
          <a:prstGeom prst="rect">
            <a:avLst/>
          </a:prstGeom>
          <a:solidFill>
            <a:srgbClr val="292B6E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870697" y="5045515"/>
            <a:ext cx="1273303" cy="91188"/>
          </a:xfrm>
          <a:prstGeom prst="rect">
            <a:avLst/>
          </a:prstGeom>
          <a:solidFill>
            <a:srgbClr val="4656A6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12" name="Rectangle 20"/>
          <p:cNvSpPr>
            <a:spLocks noChangeArrowheads="1"/>
          </p:cNvSpPr>
          <p:nvPr userDrawn="1"/>
        </p:nvSpPr>
        <p:spPr bwMode="auto">
          <a:xfrm>
            <a:off x="0" y="5045515"/>
            <a:ext cx="5679249" cy="91188"/>
          </a:xfrm>
          <a:prstGeom prst="rect">
            <a:avLst/>
          </a:prstGeom>
          <a:solidFill>
            <a:srgbClr val="17468F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5481058" y="5045515"/>
            <a:ext cx="603083" cy="91188"/>
          </a:xfrm>
          <a:prstGeom prst="rect">
            <a:avLst/>
          </a:prstGeom>
          <a:solidFill>
            <a:srgbClr val="55BF8B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57200" y="205979"/>
            <a:ext cx="8229600" cy="689591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3000"/>
              </a:lnSpc>
              <a:defRPr sz="2800" b="1" baseline="0">
                <a:solidFill>
                  <a:srgbClr val="006A71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5" name="Text Placeholder 7"/>
          <p:cNvSpPr>
            <a:spLocks noGrp="1"/>
          </p:cNvSpPr>
          <p:nvPr userDrawn="1">
            <p:ph type="body" sz="quarter" idx="10"/>
          </p:nvPr>
        </p:nvSpPr>
        <p:spPr>
          <a:xfrm>
            <a:off x="457200" y="1158875"/>
            <a:ext cx="8229600" cy="3341688"/>
          </a:xfrm>
        </p:spPr>
        <p:txBody>
          <a:bodyPr/>
          <a:lstStyle>
            <a:lvl1pPr marL="230188" indent="-230188">
              <a:buClr>
                <a:srgbClr val="005DAA"/>
              </a:buClr>
              <a:buFont typeface="Wingdings" panose="05000000000000000000" pitchFamily="2" charset="2"/>
              <a:buChar char="§"/>
              <a:defRPr sz="2000">
                <a:solidFill>
                  <a:srgbClr val="2D2D2D"/>
                </a:solidFill>
              </a:defRPr>
            </a:lvl1pPr>
            <a:lvl2pPr>
              <a:buClr>
                <a:srgbClr val="532E63"/>
              </a:buClr>
              <a:defRPr sz="2000">
                <a:solidFill>
                  <a:srgbClr val="2D2D2D"/>
                </a:solidFill>
              </a:defRPr>
            </a:lvl2pPr>
            <a:lvl3pPr>
              <a:buClr>
                <a:srgbClr val="9A3B26"/>
              </a:buClr>
              <a:defRPr sz="2000">
                <a:solidFill>
                  <a:srgbClr val="2D2D2D"/>
                </a:solidFill>
              </a:defRPr>
            </a:lvl3pPr>
            <a:lvl4pPr>
              <a:defRPr sz="2000">
                <a:solidFill>
                  <a:schemeClr val="accent4">
                    <a:lumMod val="75000"/>
                  </a:schemeClr>
                </a:solidFill>
              </a:defRPr>
            </a:lvl4pPr>
            <a:lvl5pPr>
              <a:defRPr sz="2000">
                <a:solidFill>
                  <a:schemeClr val="accent4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1" name="Picture 20" descr="Logos of the U.S. Department of Health and Human Services and Centers for Disease Control and Prevention" title="LOGOS">
            <a:extLst>
              <a:ext uri="{FF2B5EF4-FFF2-40B4-BE49-F238E27FC236}">
                <a16:creationId xmlns:a16="http://schemas.microsoft.com/office/drawing/2014/main" id="{5EB3B0CC-979E-4460-961A-7E5D5213A0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439" y="4501098"/>
            <a:ext cx="869114" cy="49826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9256BCB5-3FA6-46A4-BD0C-A091D9F1922D}"/>
              </a:ext>
            </a:extLst>
          </p:cNvPr>
          <p:cNvGrpSpPr/>
          <p:nvPr userDrawn="1"/>
        </p:nvGrpSpPr>
        <p:grpSpPr>
          <a:xfrm>
            <a:off x="0" y="1"/>
            <a:ext cx="267157" cy="895570"/>
            <a:chOff x="2721769" y="2050256"/>
            <a:chExt cx="442912" cy="146966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5B91796-8B0E-4339-853E-86194B92F336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B4E0A8E-0F30-4F8C-A535-BEEA20A4E70F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852743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TA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6082666" y="5045515"/>
            <a:ext cx="603083" cy="91188"/>
          </a:xfrm>
          <a:prstGeom prst="rect">
            <a:avLst/>
          </a:prstGeom>
          <a:solidFill>
            <a:srgbClr val="B01519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6677884" y="5045515"/>
            <a:ext cx="603083" cy="91188"/>
          </a:xfrm>
          <a:prstGeom prst="rect">
            <a:avLst/>
          </a:prstGeom>
          <a:solidFill>
            <a:srgbClr val="FBAB18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7280966" y="5045515"/>
            <a:ext cx="603574" cy="91188"/>
          </a:xfrm>
          <a:prstGeom prst="rect">
            <a:avLst/>
          </a:prstGeom>
          <a:solidFill>
            <a:srgbClr val="292B6E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870697" y="5045515"/>
            <a:ext cx="1273303" cy="91188"/>
          </a:xfrm>
          <a:prstGeom prst="rect">
            <a:avLst/>
          </a:prstGeom>
          <a:solidFill>
            <a:srgbClr val="4656A6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12" name="Rectangle 20"/>
          <p:cNvSpPr>
            <a:spLocks noChangeArrowheads="1"/>
          </p:cNvSpPr>
          <p:nvPr userDrawn="1"/>
        </p:nvSpPr>
        <p:spPr bwMode="auto">
          <a:xfrm>
            <a:off x="0" y="5045515"/>
            <a:ext cx="5679249" cy="91188"/>
          </a:xfrm>
          <a:prstGeom prst="rect">
            <a:avLst/>
          </a:prstGeom>
          <a:solidFill>
            <a:srgbClr val="17468F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5481058" y="5045515"/>
            <a:ext cx="603083" cy="91188"/>
          </a:xfrm>
          <a:prstGeom prst="rect">
            <a:avLst/>
          </a:prstGeom>
          <a:solidFill>
            <a:srgbClr val="55BF8B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57200" y="205979"/>
            <a:ext cx="8229600" cy="689591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3000"/>
              </a:lnSpc>
              <a:defRPr sz="2800" b="1" baseline="0">
                <a:solidFill>
                  <a:srgbClr val="006A71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5" name="Text Placeholder 7"/>
          <p:cNvSpPr>
            <a:spLocks noGrp="1"/>
          </p:cNvSpPr>
          <p:nvPr userDrawn="1">
            <p:ph type="body" sz="quarter" idx="10"/>
          </p:nvPr>
        </p:nvSpPr>
        <p:spPr>
          <a:xfrm>
            <a:off x="457200" y="1158875"/>
            <a:ext cx="8229600" cy="3341688"/>
          </a:xfrm>
        </p:spPr>
        <p:txBody>
          <a:bodyPr/>
          <a:lstStyle>
            <a:lvl1pPr marL="230188" indent="-230188">
              <a:buClr>
                <a:srgbClr val="005DAA"/>
              </a:buClr>
              <a:buFont typeface="Wingdings" panose="05000000000000000000" pitchFamily="2" charset="2"/>
              <a:buChar char="§"/>
              <a:defRPr sz="2000">
                <a:solidFill>
                  <a:srgbClr val="2D2D2D"/>
                </a:solidFill>
              </a:defRPr>
            </a:lvl1pPr>
            <a:lvl2pPr>
              <a:buClr>
                <a:srgbClr val="532E63"/>
              </a:buClr>
              <a:defRPr sz="2000">
                <a:solidFill>
                  <a:srgbClr val="2D2D2D"/>
                </a:solidFill>
              </a:defRPr>
            </a:lvl2pPr>
            <a:lvl3pPr>
              <a:buClr>
                <a:srgbClr val="9A3B26"/>
              </a:buClr>
              <a:defRPr sz="2000">
                <a:solidFill>
                  <a:srgbClr val="2D2D2D"/>
                </a:solidFill>
              </a:defRPr>
            </a:lvl3pPr>
            <a:lvl4pPr>
              <a:defRPr sz="2000">
                <a:solidFill>
                  <a:schemeClr val="accent4">
                    <a:lumMod val="75000"/>
                  </a:schemeClr>
                </a:solidFill>
              </a:defRPr>
            </a:lvl4pPr>
            <a:lvl5pPr>
              <a:defRPr sz="2000">
                <a:solidFill>
                  <a:schemeClr val="accent4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256BCB5-3FA6-46A4-BD0C-A091D9F1922D}"/>
              </a:ext>
            </a:extLst>
          </p:cNvPr>
          <p:cNvGrpSpPr/>
          <p:nvPr userDrawn="1"/>
        </p:nvGrpSpPr>
        <p:grpSpPr>
          <a:xfrm>
            <a:off x="0" y="1"/>
            <a:ext cx="267157" cy="895570"/>
            <a:chOff x="2721769" y="2050256"/>
            <a:chExt cx="442912" cy="146966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5B91796-8B0E-4339-853E-86194B92F336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B4E0A8E-0F30-4F8C-A535-BEEA20A4E70F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900402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 2 colum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3000"/>
              </a:lnSpc>
              <a:defRPr sz="2800" b="1" baseline="0">
                <a:solidFill>
                  <a:srgbClr val="006A71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1"/>
            <a:ext cx="3879669" cy="314325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24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742950" indent="-285750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18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18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1800">
                <a:solidFill>
                  <a:schemeClr val="bg2"/>
                </a:solidFill>
              </a:defRPr>
            </a:lvl5pPr>
          </a:lstStyle>
          <a:p>
            <a:pPr lvl="2"/>
            <a:endParaRPr lang="en-US"/>
          </a:p>
          <a:p>
            <a:pPr lvl="0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 userDrawn="1">
            <p:ph idx="10"/>
          </p:nvPr>
        </p:nvSpPr>
        <p:spPr>
          <a:xfrm>
            <a:off x="4807131" y="1200151"/>
            <a:ext cx="3879669" cy="314325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24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742950" indent="-285750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18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18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1800">
                <a:solidFill>
                  <a:schemeClr val="bg2"/>
                </a:solidFill>
              </a:defRPr>
            </a:lvl5pPr>
          </a:lstStyle>
          <a:p>
            <a:pPr lvl="2"/>
            <a:endParaRPr lang="en-US"/>
          </a:p>
          <a:p>
            <a:pPr lvl="0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16945D-7463-43F9-B460-2CF43DA200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082666" y="5045515"/>
            <a:ext cx="603083" cy="91188"/>
          </a:xfrm>
          <a:prstGeom prst="rect">
            <a:avLst/>
          </a:prstGeom>
          <a:solidFill>
            <a:srgbClr val="B01519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8D9C951-7795-4013-A98F-41CA15626AB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677884" y="5045515"/>
            <a:ext cx="603083" cy="91188"/>
          </a:xfrm>
          <a:prstGeom prst="rect">
            <a:avLst/>
          </a:prstGeom>
          <a:solidFill>
            <a:srgbClr val="FBAB18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E138E91-A144-4218-9895-5E4D3582AD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280966" y="5045515"/>
            <a:ext cx="603574" cy="91188"/>
          </a:xfrm>
          <a:prstGeom prst="rect">
            <a:avLst/>
          </a:prstGeom>
          <a:solidFill>
            <a:srgbClr val="292B6E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EF4E6B6-BDAE-40A5-9E22-D7B6320CBA1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870697" y="5045515"/>
            <a:ext cx="1273303" cy="91188"/>
          </a:xfrm>
          <a:prstGeom prst="rect">
            <a:avLst/>
          </a:prstGeom>
          <a:solidFill>
            <a:srgbClr val="4656A6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19" name="Rectangle 20">
            <a:extLst>
              <a:ext uri="{FF2B5EF4-FFF2-40B4-BE49-F238E27FC236}">
                <a16:creationId xmlns:a16="http://schemas.microsoft.com/office/drawing/2014/main" id="{E71CFAF4-5909-4817-B92D-CE4D29DFF7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5045515"/>
            <a:ext cx="5679249" cy="91188"/>
          </a:xfrm>
          <a:prstGeom prst="rect">
            <a:avLst/>
          </a:prstGeom>
          <a:solidFill>
            <a:srgbClr val="17468F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0E6DC0A-1388-4428-BA38-59223C425A4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481058" y="5045515"/>
            <a:ext cx="603083" cy="91188"/>
          </a:xfrm>
          <a:prstGeom prst="rect">
            <a:avLst/>
          </a:prstGeom>
          <a:solidFill>
            <a:srgbClr val="55BF8B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pic>
        <p:nvPicPr>
          <p:cNvPr id="21" name="Picture 20" descr="Logos of the U.S. Department of Health and Human Services and Centers for Disease Control and Prevention" title="LOGOS">
            <a:extLst>
              <a:ext uri="{FF2B5EF4-FFF2-40B4-BE49-F238E27FC236}">
                <a16:creationId xmlns:a16="http://schemas.microsoft.com/office/drawing/2014/main" id="{84213D48-D055-4EE8-9726-533AB8E26A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439" y="4280109"/>
            <a:ext cx="1254584" cy="71925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AF318103-E3F0-462E-A0BE-161EC7EA9C7C}"/>
              </a:ext>
            </a:extLst>
          </p:cNvPr>
          <p:cNvGrpSpPr/>
          <p:nvPr userDrawn="1"/>
        </p:nvGrpSpPr>
        <p:grpSpPr>
          <a:xfrm>
            <a:off x="0" y="1"/>
            <a:ext cx="267157" cy="895570"/>
            <a:chOff x="2721769" y="2050256"/>
            <a:chExt cx="442912" cy="146966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C2A256B-3279-4135-9C44-56940C3F4D28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D7CDBA5-E900-4510-9676-E670A0189CF4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655104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TA SLIDE 2 colum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3000"/>
              </a:lnSpc>
              <a:defRPr sz="2800" b="1" baseline="0">
                <a:solidFill>
                  <a:srgbClr val="006A71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1"/>
            <a:ext cx="3879669" cy="314325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24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742950" indent="-285750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18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18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1800">
                <a:solidFill>
                  <a:schemeClr val="bg2"/>
                </a:solidFill>
              </a:defRPr>
            </a:lvl5pPr>
          </a:lstStyle>
          <a:p>
            <a:pPr lvl="2"/>
            <a:endParaRPr lang="en-US"/>
          </a:p>
          <a:p>
            <a:pPr lvl="0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 userDrawn="1">
            <p:ph idx="10"/>
          </p:nvPr>
        </p:nvSpPr>
        <p:spPr>
          <a:xfrm>
            <a:off x="4807131" y="1200151"/>
            <a:ext cx="3879669" cy="314325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24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742950" indent="-285750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18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18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1800">
                <a:solidFill>
                  <a:schemeClr val="bg2"/>
                </a:solidFill>
              </a:defRPr>
            </a:lvl5pPr>
          </a:lstStyle>
          <a:p>
            <a:pPr lvl="2"/>
            <a:endParaRPr lang="en-US"/>
          </a:p>
          <a:p>
            <a:pPr lvl="0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16945D-7463-43F9-B460-2CF43DA200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082666" y="5045515"/>
            <a:ext cx="603083" cy="91188"/>
          </a:xfrm>
          <a:prstGeom prst="rect">
            <a:avLst/>
          </a:prstGeom>
          <a:solidFill>
            <a:srgbClr val="B01519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8D9C951-7795-4013-A98F-41CA15626AB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677884" y="5045515"/>
            <a:ext cx="603083" cy="91188"/>
          </a:xfrm>
          <a:prstGeom prst="rect">
            <a:avLst/>
          </a:prstGeom>
          <a:solidFill>
            <a:srgbClr val="FBAB18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E138E91-A144-4218-9895-5E4D3582AD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280966" y="5045515"/>
            <a:ext cx="603574" cy="91188"/>
          </a:xfrm>
          <a:prstGeom prst="rect">
            <a:avLst/>
          </a:prstGeom>
          <a:solidFill>
            <a:srgbClr val="292B6E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EF4E6B6-BDAE-40A5-9E22-D7B6320CBA1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870697" y="5045515"/>
            <a:ext cx="1273303" cy="91188"/>
          </a:xfrm>
          <a:prstGeom prst="rect">
            <a:avLst/>
          </a:prstGeom>
          <a:solidFill>
            <a:srgbClr val="4656A6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19" name="Rectangle 20">
            <a:extLst>
              <a:ext uri="{FF2B5EF4-FFF2-40B4-BE49-F238E27FC236}">
                <a16:creationId xmlns:a16="http://schemas.microsoft.com/office/drawing/2014/main" id="{E71CFAF4-5909-4817-B92D-CE4D29DFF7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5045515"/>
            <a:ext cx="5679249" cy="91188"/>
          </a:xfrm>
          <a:prstGeom prst="rect">
            <a:avLst/>
          </a:prstGeom>
          <a:solidFill>
            <a:srgbClr val="17468F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0E6DC0A-1388-4428-BA38-59223C425A4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481058" y="5045515"/>
            <a:ext cx="603083" cy="91188"/>
          </a:xfrm>
          <a:prstGeom prst="rect">
            <a:avLst/>
          </a:prstGeom>
          <a:solidFill>
            <a:srgbClr val="55BF8B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F318103-E3F0-462E-A0BE-161EC7EA9C7C}"/>
              </a:ext>
            </a:extLst>
          </p:cNvPr>
          <p:cNvGrpSpPr/>
          <p:nvPr userDrawn="1"/>
        </p:nvGrpSpPr>
        <p:grpSpPr>
          <a:xfrm>
            <a:off x="0" y="1"/>
            <a:ext cx="267157" cy="895570"/>
            <a:chOff x="2721769" y="2050256"/>
            <a:chExt cx="442912" cy="146966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C2A256B-3279-4135-9C44-56940C3F4D28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D7CDBA5-E900-4510-9676-E670A0189CF4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5838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or_background">
    <p:bg>
      <p:bgPr>
        <a:solidFill>
          <a:srgbClr val="006A7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613" y="2441363"/>
            <a:ext cx="8294913" cy="871538"/>
          </a:xfrm>
          <a:prstGeom prst="rect">
            <a:avLst/>
          </a:prstGeom>
        </p:spPr>
        <p:txBody>
          <a:bodyPr anchor="b"/>
          <a:lstStyle>
            <a:lvl1pPr algn="l">
              <a:defRPr sz="3600" b="1" baseline="0">
                <a:solidFill>
                  <a:schemeClr val="bg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179613" y="3516736"/>
            <a:ext cx="7772400" cy="426244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ts val="2200"/>
              </a:lnSpc>
              <a:buNone/>
              <a:defRPr sz="2000" baseline="0">
                <a:solidFill>
                  <a:schemeClr val="bg2"/>
                </a:solidFill>
                <a:latin typeface="Calibri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pic>
        <p:nvPicPr>
          <p:cNvPr id="4" name="Picture 3" descr="Logos of the U.S. Department of Health and Human Services and Centers for Disease Control and Prevention" title="LOGOS">
            <a:extLst>
              <a:ext uri="{FF2B5EF4-FFF2-40B4-BE49-F238E27FC236}">
                <a16:creationId xmlns:a16="http://schemas.microsoft.com/office/drawing/2014/main" id="{1338F5EA-D0AF-428F-B372-DAC2A9B1C5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229" y="4280109"/>
            <a:ext cx="1254584" cy="719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0960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or_background">
    <p:bg>
      <p:bgPr>
        <a:solidFill>
          <a:srgbClr val="006A7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D1EDB832-85DB-47C2-990D-C76F1161C2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7069" y="506186"/>
            <a:ext cx="4484352" cy="43463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613" y="2441363"/>
            <a:ext cx="8294913" cy="871538"/>
          </a:xfrm>
          <a:prstGeom prst="rect">
            <a:avLst/>
          </a:prstGeom>
        </p:spPr>
        <p:txBody>
          <a:bodyPr anchor="b"/>
          <a:lstStyle>
            <a:lvl1pPr algn="l">
              <a:defRPr sz="3600" b="1" baseline="0">
                <a:solidFill>
                  <a:schemeClr val="bg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179613" y="3516736"/>
            <a:ext cx="7772400" cy="426244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ts val="2200"/>
              </a:lnSpc>
              <a:buNone/>
              <a:defRPr sz="2000" baseline="0">
                <a:solidFill>
                  <a:schemeClr val="bg2"/>
                </a:solidFill>
                <a:latin typeface="Calibri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pic>
        <p:nvPicPr>
          <p:cNvPr id="4" name="Picture 3" descr="Logos of the U.S. Department of Health and Human Services and Centers for Disease Control and Prevention" title="LOGOS">
            <a:extLst>
              <a:ext uri="{FF2B5EF4-FFF2-40B4-BE49-F238E27FC236}">
                <a16:creationId xmlns:a16="http://schemas.microsoft.com/office/drawing/2014/main" id="{1338F5EA-D0AF-428F-B372-DAC2A9B1C51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229" y="4280109"/>
            <a:ext cx="1254584" cy="719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00105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or_background">
    <p:bg>
      <p:bgPr>
        <a:solidFill>
          <a:srgbClr val="006A7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D1EDB832-85DB-47C2-990D-C76F1161C2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7069" y="506186"/>
            <a:ext cx="4484352" cy="43463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613" y="2441363"/>
            <a:ext cx="8294913" cy="871538"/>
          </a:xfrm>
          <a:prstGeom prst="rect">
            <a:avLst/>
          </a:prstGeom>
        </p:spPr>
        <p:txBody>
          <a:bodyPr anchor="b"/>
          <a:lstStyle>
            <a:lvl1pPr algn="l">
              <a:defRPr sz="3600" b="1" baseline="0">
                <a:solidFill>
                  <a:schemeClr val="bg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179613" y="3516736"/>
            <a:ext cx="7772400" cy="426244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ts val="2200"/>
              </a:lnSpc>
              <a:buNone/>
              <a:defRPr sz="2000" baseline="0">
                <a:solidFill>
                  <a:schemeClr val="bg2"/>
                </a:solidFill>
                <a:latin typeface="Calibri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pic>
        <p:nvPicPr>
          <p:cNvPr id="4" name="Picture 3" descr="Logos of the U.S. Department of Health and Human Services and Centers for Disease Control and Prevention" title="LOGOS">
            <a:extLst>
              <a:ext uri="{FF2B5EF4-FFF2-40B4-BE49-F238E27FC236}">
                <a16:creationId xmlns:a16="http://schemas.microsoft.com/office/drawing/2014/main" id="{1338F5EA-D0AF-428F-B372-DAC2A9B1C51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229" y="4280109"/>
            <a:ext cx="1254584" cy="719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00105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BE6265-E539-4511-871B-B1A50902E7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666085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BE6265-E539-4511-871B-B1A50902E7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370013"/>
            <a:ext cx="7886700" cy="3262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9961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24" r:id="rId2"/>
    <p:sldLayoutId id="2147483811" r:id="rId3"/>
    <p:sldLayoutId id="2147483827" r:id="rId4"/>
    <p:sldLayoutId id="2147483815" r:id="rId5"/>
    <p:sldLayoutId id="2147483828" r:id="rId6"/>
    <p:sldLayoutId id="2147483823" r:id="rId7"/>
    <p:sldLayoutId id="2147483830" r:id="rId8"/>
    <p:sldLayoutId id="2147483826" r:id="rId9"/>
    <p:sldLayoutId id="2147483822" r:id="rId10"/>
    <p:sldLayoutId id="2147483825" r:id="rId11"/>
    <p:sldLayoutId id="2147483829" r:id="rId12"/>
    <p:sldLayoutId id="2147483831" r:id="rId13"/>
    <p:sldLayoutId id="2147483832" r:id="rId14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yriad Web Pro" panose="020B0503030403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yriad Web Pro" panose="020B0503030403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yriad Web Pro" panose="020B0503030403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yriad Web Pro" panose="020B050303040302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yriad Web Pro" panose="020B050303040302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yriad Web Pro" panose="020B050303040302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yriad Web Pro" panose="020B050303040302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mailto:eocevent462@cdc.gov" TargetMode="Externa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21232D-0D00-4652-84A6-C735EA4ECE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0608" y="2375941"/>
            <a:ext cx="8597172" cy="1006825"/>
          </a:xfrm>
          <a:solidFill>
            <a:schemeClr val="bg2"/>
          </a:solidFill>
        </p:spPr>
        <p:txBody>
          <a:bodyPr/>
          <a:lstStyle/>
          <a:p>
            <a:r>
              <a:rPr lang="en-US" dirty="0">
                <a:solidFill>
                  <a:srgbClr val="002060"/>
                </a:solidFill>
              </a:rPr>
              <a:t>Prepared </a:t>
            </a:r>
            <a:r>
              <a:rPr lang="en-US">
                <a:solidFill>
                  <a:srgbClr val="002060"/>
                </a:solidFill>
              </a:rPr>
              <a:t>August 9, </a:t>
            </a:r>
            <a:r>
              <a:rPr lang="en-US" dirty="0">
                <a:solidFill>
                  <a:srgbClr val="002060"/>
                </a:solidFill>
              </a:rPr>
              <a:t>2021, </a:t>
            </a:r>
          </a:p>
          <a:p>
            <a:r>
              <a:rPr lang="en-US" dirty="0">
                <a:solidFill>
                  <a:srgbClr val="002060"/>
                </a:solidFill>
              </a:rPr>
              <a:t>by the Data on Call Section </a:t>
            </a:r>
            <a:r>
              <a:rPr lang="en-US" dirty="0"/>
              <a:t>(</a:t>
            </a:r>
            <a:r>
              <a:rPr lang="en-US" u="sng" dirty="0">
                <a:hlinkClick r:id="rId2"/>
              </a:rPr>
              <a:t>eocevent462@cdc.gov</a:t>
            </a:r>
            <a:r>
              <a:rPr lang="en-US" dirty="0"/>
              <a:t>)</a:t>
            </a:r>
            <a:br>
              <a:rPr lang="en-US" dirty="0"/>
            </a:br>
            <a:r>
              <a:rPr lang="en-US" dirty="0">
                <a:solidFill>
                  <a:srgbClr val="002060"/>
                </a:solidFill>
              </a:rPr>
              <a:t>within Data, Analytics, and Visualization Task Force​</a:t>
            </a:r>
          </a:p>
        </p:txBody>
      </p:sp>
    </p:spTree>
    <p:extLst>
      <p:ext uri="{BB962C8B-B14F-4D97-AF65-F5344CB8AC3E}">
        <p14:creationId xmlns:p14="http://schemas.microsoft.com/office/powerpoint/2010/main" val="265712277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ap&#10;&#10;Description automatically generated">
            <a:extLst>
              <a:ext uri="{FF2B5EF4-FFF2-40B4-BE49-F238E27FC236}">
                <a16:creationId xmlns:a16="http://schemas.microsoft.com/office/drawing/2014/main" id="{ABBE2D4D-0237-4A41-B4A8-CCC29580C6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23" y="429375"/>
            <a:ext cx="4998875" cy="428475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9B149B3-D310-4CD3-953B-9BB88FD847B6}"/>
              </a:ext>
            </a:extLst>
          </p:cNvPr>
          <p:cNvSpPr txBox="1"/>
          <p:nvPr/>
        </p:nvSpPr>
        <p:spPr>
          <a:xfrm rot="-5400000">
            <a:off x="5851620" y="1595887"/>
            <a:ext cx="110819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</a:rPr>
              <a:t>% Fully Vaccinated</a:t>
            </a:r>
            <a:endParaRPr lang="en-US" sz="1100" dirty="0">
              <a:solidFill>
                <a:srgbClr val="000000"/>
              </a:solidFill>
              <a:latin typeface="Calibri" panose="020F0502020204030204" pitchFamily="34" charset="0"/>
              <a:sym typeface="Wingdings" panose="05000000000000000000" pitchFamily="2" charset="2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29FE65F-3FF6-4A45-97ED-630DE9090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874" y="205979"/>
            <a:ext cx="8540033" cy="689591"/>
          </a:xfr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100000"/>
              </a:lnSpc>
            </a:pPr>
            <a:r>
              <a:rPr lang="en-US" sz="1600" dirty="0">
                <a:latin typeface="Calibri"/>
                <a:cs typeface="Calibri"/>
              </a:rPr>
              <a:t>Counties by Percentage of Fully Vaccinated and 7-Day Case Rates for Ages 0 – 17 Years – </a:t>
            </a:r>
            <a:br>
              <a:rPr lang="en-US" sz="1600" dirty="0">
                <a:latin typeface="Calibri"/>
                <a:cs typeface="Calibri"/>
              </a:rPr>
            </a:br>
            <a:r>
              <a:rPr lang="en-US" sz="1600" dirty="0">
                <a:latin typeface="Calibri"/>
                <a:cs typeface="Calibri"/>
              </a:rPr>
              <a:t>July 29 – August 4 , 2021 – based on Jenks Natural Breaks for Vaccine Coverag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BDF7A81-F376-4A39-A135-664C55C06F4A}"/>
              </a:ext>
            </a:extLst>
          </p:cNvPr>
          <p:cNvSpPr/>
          <p:nvPr/>
        </p:nvSpPr>
        <p:spPr>
          <a:xfrm>
            <a:off x="8757931" y="0"/>
            <a:ext cx="380527" cy="37622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F7AC95E6-0ED8-4B3C-B4D6-D29245301B77}"/>
              </a:ext>
            </a:extLst>
          </p:cNvPr>
          <p:cNvSpPr txBox="1"/>
          <p:nvPr/>
        </p:nvSpPr>
        <p:spPr>
          <a:xfrm>
            <a:off x="465097" y="4451523"/>
            <a:ext cx="7779176" cy="369332"/>
          </a:xfrm>
          <a:prstGeom prst="rect">
            <a:avLst/>
          </a:prstGeom>
          <a:noFill/>
        </p:spPr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000000"/>
                </a:solidFill>
                <a:latin typeface="Calibri"/>
                <a:cs typeface="Calibri"/>
              </a:rPr>
              <a:t>Counties appear in grey in map where either case rate or vaccine data is not available. Jenks Natural breaks used for vaccine levels include: High is  &gt;0.9% -  5.2%.; Substantial: 0.9% - &gt;0.2%; Moderate: 0.2% -&gt;0.1%; Low: 0 – 0.1% Seven-day period is from July 29 to August 4, 2021.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95CDA48-DF40-478E-9B01-659900FADF97}"/>
              </a:ext>
            </a:extLst>
          </p:cNvPr>
          <p:cNvSpPr txBox="1"/>
          <p:nvPr/>
        </p:nvSpPr>
        <p:spPr>
          <a:xfrm>
            <a:off x="6922243" y="792571"/>
            <a:ext cx="12440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</a:rPr>
              <a:t>7-Day Case Rate</a:t>
            </a:r>
          </a:p>
          <a:p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</a:rPr>
              <a:t>(lower to higher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5F851CD-7AFC-4A70-93D7-16D9DE698252}"/>
              </a:ext>
            </a:extLst>
          </p:cNvPr>
          <p:cNvSpPr/>
          <p:nvPr/>
        </p:nvSpPr>
        <p:spPr>
          <a:xfrm>
            <a:off x="6190275" y="4772184"/>
            <a:ext cx="282761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ata received by CDC as of 6:00 am ET on August 05, 2021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F56DC"/>
              </a:solidFill>
              <a:effectLst/>
              <a:uLnTx/>
              <a:uFillTx/>
              <a:latin typeface="Myriad Web Pro" panose="020B0503030403020204" pitchFamily="34" charset="0"/>
              <a:ea typeface="+mn-ea"/>
              <a:cs typeface="+mn-cs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7B1A6E8-95CB-46B1-B8D2-BA3315E6CB10}"/>
              </a:ext>
            </a:extLst>
          </p:cNvPr>
          <p:cNvCxnSpPr>
            <a:cxnSpLocks/>
          </p:cNvCxnSpPr>
          <p:nvPr/>
        </p:nvCxnSpPr>
        <p:spPr>
          <a:xfrm flipV="1">
            <a:off x="6719034" y="1395994"/>
            <a:ext cx="0" cy="665018"/>
          </a:xfrm>
          <a:prstGeom prst="straightConnector1">
            <a:avLst/>
          </a:prstGeom>
          <a:ln w="28575">
            <a:solidFill>
              <a:srgbClr val="2D2C2C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2FCDE77-5A53-4CF4-9266-3C4180742E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617012"/>
              </p:ext>
            </p:extLst>
          </p:nvPr>
        </p:nvGraphicFramePr>
        <p:xfrm>
          <a:off x="6844249" y="1206802"/>
          <a:ext cx="1400024" cy="1242132"/>
        </p:xfrm>
        <a:graphic>
          <a:graphicData uri="http://schemas.openxmlformats.org/drawingml/2006/table">
            <a:tbl>
              <a:tblPr/>
              <a:tblGrid>
                <a:gridCol w="350006">
                  <a:extLst>
                    <a:ext uri="{9D8B030D-6E8A-4147-A177-3AD203B41FA5}">
                      <a16:colId xmlns:a16="http://schemas.microsoft.com/office/drawing/2014/main" val="2270072284"/>
                    </a:ext>
                  </a:extLst>
                </a:gridCol>
                <a:gridCol w="350006">
                  <a:extLst>
                    <a:ext uri="{9D8B030D-6E8A-4147-A177-3AD203B41FA5}">
                      <a16:colId xmlns:a16="http://schemas.microsoft.com/office/drawing/2014/main" val="3751604223"/>
                    </a:ext>
                  </a:extLst>
                </a:gridCol>
                <a:gridCol w="350006">
                  <a:extLst>
                    <a:ext uri="{9D8B030D-6E8A-4147-A177-3AD203B41FA5}">
                      <a16:colId xmlns:a16="http://schemas.microsoft.com/office/drawing/2014/main" val="2700728071"/>
                    </a:ext>
                  </a:extLst>
                </a:gridCol>
                <a:gridCol w="350006">
                  <a:extLst>
                    <a:ext uri="{9D8B030D-6E8A-4147-A177-3AD203B41FA5}">
                      <a16:colId xmlns:a16="http://schemas.microsoft.com/office/drawing/2014/main" val="1738743375"/>
                    </a:ext>
                  </a:extLst>
                </a:gridCol>
              </a:tblGrid>
              <a:tr h="31053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1CC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1B1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1759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116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281236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AD7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AB1B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A759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A16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929977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E0D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B1B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759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16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837579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B1B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759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16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6985955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D45564D-9A75-41B7-B121-24AF477FD9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7839531"/>
              </p:ext>
            </p:extLst>
          </p:nvPr>
        </p:nvGraphicFramePr>
        <p:xfrm>
          <a:off x="4613433" y="2669847"/>
          <a:ext cx="3708399" cy="16637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50672">
                  <a:extLst>
                    <a:ext uri="{9D8B030D-6E8A-4147-A177-3AD203B41FA5}">
                      <a16:colId xmlns:a16="http://schemas.microsoft.com/office/drawing/2014/main" val="1115998194"/>
                    </a:ext>
                  </a:extLst>
                </a:gridCol>
                <a:gridCol w="425336">
                  <a:extLst>
                    <a:ext uri="{9D8B030D-6E8A-4147-A177-3AD203B41FA5}">
                      <a16:colId xmlns:a16="http://schemas.microsoft.com/office/drawing/2014/main" val="397743210"/>
                    </a:ext>
                  </a:extLst>
                </a:gridCol>
                <a:gridCol w="425336">
                  <a:extLst>
                    <a:ext uri="{9D8B030D-6E8A-4147-A177-3AD203B41FA5}">
                      <a16:colId xmlns:a16="http://schemas.microsoft.com/office/drawing/2014/main" val="644625402"/>
                    </a:ext>
                  </a:extLst>
                </a:gridCol>
                <a:gridCol w="558254">
                  <a:extLst>
                    <a:ext uri="{9D8B030D-6E8A-4147-A177-3AD203B41FA5}">
                      <a16:colId xmlns:a16="http://schemas.microsoft.com/office/drawing/2014/main" val="3116800075"/>
                    </a:ext>
                  </a:extLst>
                </a:gridCol>
                <a:gridCol w="624713">
                  <a:extLst>
                    <a:ext uri="{9D8B030D-6E8A-4147-A177-3AD203B41FA5}">
                      <a16:colId xmlns:a16="http://schemas.microsoft.com/office/drawing/2014/main" val="1421532611"/>
                    </a:ext>
                  </a:extLst>
                </a:gridCol>
                <a:gridCol w="412044">
                  <a:extLst>
                    <a:ext uri="{9D8B030D-6E8A-4147-A177-3AD203B41FA5}">
                      <a16:colId xmlns:a16="http://schemas.microsoft.com/office/drawing/2014/main" val="2226574233"/>
                    </a:ext>
                  </a:extLst>
                </a:gridCol>
                <a:gridCol w="412044">
                  <a:extLst>
                    <a:ext uri="{9D8B030D-6E8A-4147-A177-3AD203B41FA5}">
                      <a16:colId xmlns:a16="http://schemas.microsoft.com/office/drawing/2014/main" val="4140367898"/>
                    </a:ext>
                  </a:extLst>
                </a:gridCol>
              </a:tblGrid>
              <a:tr h="184150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dirty="0">
                          <a:effectLst/>
                        </a:rPr>
                        <a:t>% Fully Vaccinated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7-Day Case Rat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1625794"/>
                  </a:ext>
                </a:extLst>
              </a:tr>
              <a:tr h="3683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Low (&lt;10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&gt;=1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&gt;=5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High (&gt;=100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No data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Total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9244482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&gt;0.9 - 5.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80387455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&gt;0.2 - 0.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9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7072488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&gt;0.1 - 0.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1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7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6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0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9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9218310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0 - 0.1%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4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8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8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,48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,54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4495437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No data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07500009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Total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0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9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1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8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,64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3,14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4471818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910398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ap&#10;&#10;Description automatically generated">
            <a:extLst>
              <a:ext uri="{FF2B5EF4-FFF2-40B4-BE49-F238E27FC236}">
                <a16:creationId xmlns:a16="http://schemas.microsoft.com/office/drawing/2014/main" id="{90E8C12A-C339-4AB6-BEB0-8AEC4B0570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093" y="314397"/>
            <a:ext cx="5102977" cy="4373981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29FE65F-3FF6-4A45-97ED-630DE9090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874" y="205979"/>
            <a:ext cx="8540033" cy="689591"/>
          </a:xfr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100000"/>
              </a:lnSpc>
            </a:pPr>
            <a:r>
              <a:rPr lang="en-US" sz="1600" dirty="0">
                <a:latin typeface="Calibri"/>
                <a:cs typeface="Calibri"/>
              </a:rPr>
              <a:t>Counties by Percentage of Fully Vaccinated and 7-Day Case Rates for Ages 0 – 17 Years – </a:t>
            </a:r>
            <a:br>
              <a:rPr lang="en-US" sz="1600" dirty="0">
                <a:latin typeface="Calibri"/>
                <a:cs typeface="Calibri"/>
              </a:rPr>
            </a:br>
            <a:r>
              <a:rPr lang="en-US" sz="1600" dirty="0">
                <a:latin typeface="Calibri"/>
                <a:cs typeface="Calibri"/>
              </a:rPr>
              <a:t>July 29 – August 4, 2021 – based on Quartiles for Vaccine Coverag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BDF7A81-F376-4A39-A135-664C55C06F4A}"/>
              </a:ext>
            </a:extLst>
          </p:cNvPr>
          <p:cNvSpPr/>
          <p:nvPr/>
        </p:nvSpPr>
        <p:spPr>
          <a:xfrm>
            <a:off x="8757931" y="0"/>
            <a:ext cx="380527" cy="37622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F7AC95E6-0ED8-4B3C-B4D6-D29245301B77}"/>
              </a:ext>
            </a:extLst>
          </p:cNvPr>
          <p:cNvSpPr txBox="1"/>
          <p:nvPr/>
        </p:nvSpPr>
        <p:spPr>
          <a:xfrm>
            <a:off x="465097" y="4451523"/>
            <a:ext cx="7779176" cy="369332"/>
          </a:xfrm>
          <a:prstGeom prst="rect">
            <a:avLst/>
          </a:prstGeom>
          <a:noFill/>
        </p:spPr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000000"/>
                </a:solidFill>
                <a:latin typeface="Calibri"/>
                <a:cs typeface="Calibri"/>
              </a:rPr>
              <a:t>Counties appear in grey in map where either case rate or vaccine data is not available. Quartiles used for vaccine levels include: High is  &gt;0.2% -  5.2%.; Substantial: &gt;0.18% - 0.2%; Moderate: &gt;0.1% -0.18%; Low: 0 – 0.1%. Seven-day period is from July 29 to August 4, 2021.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5F851CD-7AFC-4A70-93D7-16D9DE698252}"/>
              </a:ext>
            </a:extLst>
          </p:cNvPr>
          <p:cNvSpPr/>
          <p:nvPr/>
        </p:nvSpPr>
        <p:spPr>
          <a:xfrm>
            <a:off x="6190275" y="4772184"/>
            <a:ext cx="282761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ata received by CDC as of 6:00 am ET on August 05, 2021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F56DC"/>
              </a:solidFill>
              <a:effectLst/>
              <a:uLnTx/>
              <a:uFillTx/>
              <a:latin typeface="Myriad Web Pro" panose="020B0503030403020204" pitchFamily="34" charset="0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22CB58F-749F-43AC-9486-8F38DD8DE1E2}"/>
              </a:ext>
            </a:extLst>
          </p:cNvPr>
          <p:cNvSpPr txBox="1"/>
          <p:nvPr/>
        </p:nvSpPr>
        <p:spPr>
          <a:xfrm rot="-5400000">
            <a:off x="5851620" y="1595887"/>
            <a:ext cx="110819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</a:rPr>
              <a:t>% Fully Vaccinated</a:t>
            </a:r>
            <a:endParaRPr lang="en-US" sz="1100" dirty="0">
              <a:solidFill>
                <a:srgbClr val="000000"/>
              </a:solidFill>
              <a:latin typeface="Calibri" panose="020F0502020204030204" pitchFamily="34" charset="0"/>
              <a:sym typeface="Wingdings" panose="05000000000000000000" pitchFamily="2" charset="2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3CE4FF6-9B5A-4FA6-A39F-1317F36C14B7}"/>
              </a:ext>
            </a:extLst>
          </p:cNvPr>
          <p:cNvSpPr txBox="1"/>
          <p:nvPr/>
        </p:nvSpPr>
        <p:spPr>
          <a:xfrm>
            <a:off x="6922243" y="792571"/>
            <a:ext cx="12440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</a:rPr>
              <a:t>7-Day Case Rate</a:t>
            </a:r>
          </a:p>
          <a:p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</a:rPr>
              <a:t>(lower to higher)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955BDD85-9707-49F5-BD69-5D2F845CC849}"/>
              </a:ext>
            </a:extLst>
          </p:cNvPr>
          <p:cNvCxnSpPr>
            <a:cxnSpLocks/>
          </p:cNvCxnSpPr>
          <p:nvPr/>
        </p:nvCxnSpPr>
        <p:spPr>
          <a:xfrm flipV="1">
            <a:off x="6719034" y="1395994"/>
            <a:ext cx="0" cy="665018"/>
          </a:xfrm>
          <a:prstGeom prst="straightConnector1">
            <a:avLst/>
          </a:prstGeom>
          <a:ln w="28575">
            <a:solidFill>
              <a:srgbClr val="2D2C2C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1AE2CBA3-167D-4DEF-96EC-558D61829D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2402430"/>
              </p:ext>
            </p:extLst>
          </p:nvPr>
        </p:nvGraphicFramePr>
        <p:xfrm>
          <a:off x="6844249" y="1206802"/>
          <a:ext cx="1400024" cy="1242132"/>
        </p:xfrm>
        <a:graphic>
          <a:graphicData uri="http://schemas.openxmlformats.org/drawingml/2006/table">
            <a:tbl>
              <a:tblPr/>
              <a:tblGrid>
                <a:gridCol w="350006">
                  <a:extLst>
                    <a:ext uri="{9D8B030D-6E8A-4147-A177-3AD203B41FA5}">
                      <a16:colId xmlns:a16="http://schemas.microsoft.com/office/drawing/2014/main" val="2270072284"/>
                    </a:ext>
                  </a:extLst>
                </a:gridCol>
                <a:gridCol w="350006">
                  <a:extLst>
                    <a:ext uri="{9D8B030D-6E8A-4147-A177-3AD203B41FA5}">
                      <a16:colId xmlns:a16="http://schemas.microsoft.com/office/drawing/2014/main" val="3751604223"/>
                    </a:ext>
                  </a:extLst>
                </a:gridCol>
                <a:gridCol w="350006">
                  <a:extLst>
                    <a:ext uri="{9D8B030D-6E8A-4147-A177-3AD203B41FA5}">
                      <a16:colId xmlns:a16="http://schemas.microsoft.com/office/drawing/2014/main" val="2700728071"/>
                    </a:ext>
                  </a:extLst>
                </a:gridCol>
                <a:gridCol w="350006">
                  <a:extLst>
                    <a:ext uri="{9D8B030D-6E8A-4147-A177-3AD203B41FA5}">
                      <a16:colId xmlns:a16="http://schemas.microsoft.com/office/drawing/2014/main" val="1738743375"/>
                    </a:ext>
                  </a:extLst>
                </a:gridCol>
              </a:tblGrid>
              <a:tr h="31053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1CC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1B1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1759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116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281236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AD7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AB1B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A759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A16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929977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E0D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B1B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759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16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837579"/>
                  </a:ext>
                </a:extLst>
              </a:tr>
              <a:tr h="31053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B1B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759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164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6985955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CAD4529-D176-42BB-9608-90479A48D1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9372359"/>
              </p:ext>
            </p:extLst>
          </p:nvPr>
        </p:nvGraphicFramePr>
        <p:xfrm>
          <a:off x="4945972" y="2618378"/>
          <a:ext cx="3708399" cy="16637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59919">
                  <a:extLst>
                    <a:ext uri="{9D8B030D-6E8A-4147-A177-3AD203B41FA5}">
                      <a16:colId xmlns:a16="http://schemas.microsoft.com/office/drawing/2014/main" val="288123079"/>
                    </a:ext>
                  </a:extLst>
                </a:gridCol>
                <a:gridCol w="376214">
                  <a:extLst>
                    <a:ext uri="{9D8B030D-6E8A-4147-A177-3AD203B41FA5}">
                      <a16:colId xmlns:a16="http://schemas.microsoft.com/office/drawing/2014/main" val="768326363"/>
                    </a:ext>
                  </a:extLst>
                </a:gridCol>
                <a:gridCol w="429959">
                  <a:extLst>
                    <a:ext uri="{9D8B030D-6E8A-4147-A177-3AD203B41FA5}">
                      <a16:colId xmlns:a16="http://schemas.microsoft.com/office/drawing/2014/main" val="2869065802"/>
                    </a:ext>
                  </a:extLst>
                </a:gridCol>
                <a:gridCol w="429959">
                  <a:extLst>
                    <a:ext uri="{9D8B030D-6E8A-4147-A177-3AD203B41FA5}">
                      <a16:colId xmlns:a16="http://schemas.microsoft.com/office/drawing/2014/main" val="2536766740"/>
                    </a:ext>
                  </a:extLst>
                </a:gridCol>
                <a:gridCol w="564322">
                  <a:extLst>
                    <a:ext uri="{9D8B030D-6E8A-4147-A177-3AD203B41FA5}">
                      <a16:colId xmlns:a16="http://schemas.microsoft.com/office/drawing/2014/main" val="3119225874"/>
                    </a:ext>
                  </a:extLst>
                </a:gridCol>
                <a:gridCol w="631503">
                  <a:extLst>
                    <a:ext uri="{9D8B030D-6E8A-4147-A177-3AD203B41FA5}">
                      <a16:colId xmlns:a16="http://schemas.microsoft.com/office/drawing/2014/main" val="1594274879"/>
                    </a:ext>
                  </a:extLst>
                </a:gridCol>
                <a:gridCol w="416523">
                  <a:extLst>
                    <a:ext uri="{9D8B030D-6E8A-4147-A177-3AD203B41FA5}">
                      <a16:colId xmlns:a16="http://schemas.microsoft.com/office/drawing/2014/main" val="2449676194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7-Day Case Rat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4332003"/>
                  </a:ext>
                </a:extLst>
              </a:tr>
              <a:tr h="368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dirty="0">
                          <a:effectLst/>
                        </a:rPr>
                        <a:t>% Fully Vaccinated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Low (&lt;10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&gt;=1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&gt;=5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High (&gt;=100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No data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Total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45953141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dirty="0">
                          <a:effectLst/>
                        </a:rPr>
                        <a:t>&gt;0.2 - 5.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7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75672998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&gt;0.18 - 0.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6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1775733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&gt;0.1 - 0.18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7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40387772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0 - 0.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6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5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0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9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,51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,63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9256277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No data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3744791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Total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0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9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1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8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,64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3,14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6753677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78883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7HUP4x5j"/>
  <p:tag name="THINKCELLPRESENTATIONDONOTDELETE" val="&lt;?xml version=&quot;1.0&quot; encoding=&quot;UTF-16&quot; standalone=&quot;yes&quot;?&gt;&lt;root reqver=&quot;25060&quot;&gt;&lt;version val=&quot;283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">
  <a:themeElements>
    <a:clrScheme name="Custom 2">
      <a:dk1>
        <a:srgbClr val="0F56DC"/>
      </a:dk1>
      <a:lt1>
        <a:srgbClr val="FFC000"/>
      </a:lt1>
      <a:dk2>
        <a:srgbClr val="FFFFFF"/>
      </a:dk2>
      <a:lt2>
        <a:srgbClr val="FFFFFF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3077FF"/>
      </a:folHlink>
    </a:clrScheme>
    <a:fontScheme name="CDC Myriad Web Pro">
      <a:majorFont>
        <a:latin typeface="Myriad Web Pro"/>
        <a:ea typeface=""/>
        <a:cs typeface=""/>
      </a:majorFont>
      <a:minorFont>
        <a:latin typeface="Myriad Web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1edd9f51-35c2-425f-bf6f-7b72bac0b145">
      <UserInfo>
        <DisplayName>Ahmad, Farida B. (CDC/DDPHSS/NCHS/DVS)</DisplayName>
        <AccountId>3195</AccountId>
        <AccountType/>
      </UserInfo>
      <UserInfo>
        <DisplayName>Natarajan, Poorna (CDC/DDID/NCEZID/DPEI) (CTR)</DisplayName>
        <AccountId>1519</AccountId>
        <AccountType/>
      </UserInfo>
      <UserInfo>
        <DisplayName>Del Guercio, Kim Lu (CDC/DDPHSS/OD) (CTR)</DisplayName>
        <AccountId>126</AccountId>
        <AccountType/>
      </UserInfo>
      <UserInfo>
        <DisplayName>Aden, Tricia (CDC/DDID/NCEZID/DPEI)</DisplayName>
        <AccountId>2400</AccountId>
        <AccountType/>
      </UserInfo>
      <UserInfo>
        <DisplayName>Anderson, Robert N. (CDC/DDPHSS/NCHS/DVS)</DisplayName>
        <AccountId>1364</AccountId>
        <AccountType/>
      </UserInfo>
      <UserInfo>
        <DisplayName>Caruso, Elise (CDC/DDPHSS/CSELS/DHIS)</DisplayName>
        <AccountId>558</AccountId>
        <AccountType/>
      </UserInfo>
      <UserInfo>
        <DisplayName>Dias, Taylor (CDC/DDPHSS/CSELS/DHIS) (CTR)</DisplayName>
        <AccountId>3789</AccountId>
        <AccountType/>
      </UserInfo>
      <UserInfo>
        <DisplayName>Kite Powell, Aaron (CDC/DDPHSS/CSELS/DHIS)</DisplayName>
        <AccountId>116</AccountId>
        <AccountType/>
      </UserInfo>
      <UserInfo>
        <DisplayName>Beach, Michael J. (CDC/DDID/NCEZID/DFWED)</DisplayName>
        <AccountId>1280</AccountId>
        <AccountType/>
      </UserInfo>
      <UserInfo>
        <DisplayName>Cassell, Cynthia H. (CDC/DDPHSIS/CGH/DGHP)</DisplayName>
        <AccountId>2995</AccountId>
        <AccountType/>
      </UserInfo>
      <UserInfo>
        <DisplayName>Yoon, Paula (CDC/DDPHSS/CSELS/DHIS)</DisplayName>
        <AccountId>104</AccountId>
        <AccountType/>
      </UserInfo>
      <UserInfo>
        <DisplayName>Jones, Christine (CDC/DDPHSS/NCHS/OD)</DisplayName>
        <AccountId>2311</AccountId>
        <AccountType/>
      </UserInfo>
      <UserInfo>
        <DisplayName>Whitham, Hilary (CDC/DDID/NCEZID/DFWED)</DisplayName>
        <AccountId>2482</AccountId>
        <AccountType/>
      </UserInfo>
      <UserInfo>
        <DisplayName>Newton, Anna E. (CDC/DDID/NCEZID/DFWED)</DisplayName>
        <AccountId>3615</AccountId>
        <AccountType/>
      </UserInfo>
      <UserInfo>
        <DisplayName>Beard, Charles (Ben) (CDC/DDID/NCEZID/DVBD)</DisplayName>
        <AccountId>2955</AccountId>
        <AccountType/>
      </UserInfo>
      <UserInfo>
        <DisplayName>Lyons, Brianna (CDC/DDID/NCIRD/ID)</DisplayName>
        <AccountId>2269</AccountId>
        <AccountType/>
      </UserInfo>
      <UserInfo>
        <DisplayName>Hall, Christopher (Jason) (CDC/DDID/NCEZID/DPEI)</DisplayName>
        <AccountId>32</AccountId>
        <AccountType/>
      </UserInfo>
      <UserInfo>
        <DisplayName>Adjemian, Jennifer (CDC/DDPHSS/CSELS/DHIS)</DisplayName>
        <AccountId>105</AccountId>
        <AccountType/>
      </UserInfo>
      <UserInfo>
        <DisplayName>Dee, Deborah L. (CDC/OCOO/HRO)</DisplayName>
        <AccountId>1793</AccountId>
        <AccountType/>
      </UserInfo>
      <UserInfo>
        <DisplayName>Rodgers, Loren E. (CDC/DDPHSS/CSELS/DHIS)</DisplayName>
        <AccountId>973</AccountId>
        <AccountType/>
      </UserInfo>
      <UserInfo>
        <DisplayName>Self, Julie Lynn (CDC/DDID/NCHHSTP/DTE)</DisplayName>
        <AccountId>4012</AccountId>
        <AccountType/>
      </UserInfo>
      <UserInfo>
        <DisplayName>Taylor, Christopher A. (CDC/DDID/NCIRD/DVD)</DisplayName>
        <AccountId>3189</AccountId>
        <AccountType/>
      </UserInfo>
      <UserInfo>
        <DisplayName>Duck, William M. (CDC/DDPHSS/CSELS/OD)</DisplayName>
        <AccountId>428</AccountId>
        <AccountType/>
      </UserInfo>
      <UserInfo>
        <DisplayName>Hartnett, Kathleen P. (CDC/DDPHSS/CSELS/DHIS)</DisplayName>
        <AccountId>113</AccountId>
        <AccountType/>
      </UserInfo>
      <UserInfo>
        <DisplayName>Patel, Kadam (CDC/DDID/NCIRD/DVD) (CTR)</DisplayName>
        <AccountId>938</AccountId>
        <AccountType/>
      </UserInfo>
      <UserInfo>
        <DisplayName>Marshall, Katherine E. (CDC/DDID/NCEZID/DFWED)</DisplayName>
        <AccountId>3853</AccountId>
        <AccountType/>
      </UserInfo>
    </SharedWithUsers>
    <_dlc_DocId xmlns="1edd9f51-35c2-425f-bf6f-7b72bac0b145">YCSJWCN4CSUS-725016541-686741</_dlc_DocId>
    <_dlc_DocIdUrl xmlns="1edd9f51-35c2-425f-bf6f-7b72bac0b145">
      <Url>https://cdc.sharepoint.com/teams/DIMDataSurveillance-COVID19/_layouts/15/DocIdRedir.aspx?ID=YCSJWCN4CSUS-725016541-686741</Url>
      <Description>YCSJWCN4CSUS-725016541-686741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1E03D7E06C234EB5626DEC4B2F4B58" ma:contentTypeVersion="14" ma:contentTypeDescription="Create a new document." ma:contentTypeScope="" ma:versionID="91bf3507ff77e93e7d45b2fff431d7e3">
  <xsd:schema xmlns:xsd="http://www.w3.org/2001/XMLSchema" xmlns:xs="http://www.w3.org/2001/XMLSchema" xmlns:p="http://schemas.microsoft.com/office/2006/metadata/properties" xmlns:ns1="http://schemas.microsoft.com/sharepoint/v3" xmlns:ns2="a12d8773-0f30-405c-b193-40869fe1c1e6" xmlns:ns3="1edd9f51-35c2-425f-bf6f-7b72bac0b145" targetNamespace="http://schemas.microsoft.com/office/2006/metadata/properties" ma:root="true" ma:fieldsID="bf15c65098ed8d06c6b83a3f4a6b940c" ns1:_="" ns2:_="" ns3:_="">
    <xsd:import namespace="http://schemas.microsoft.com/sharepoint/v3"/>
    <xsd:import namespace="a12d8773-0f30-405c-b193-40869fe1c1e6"/>
    <xsd:import namespace="1edd9f51-35c2-425f-bf6f-7b72bac0b14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3:_dlc_DocId" minOccurs="0"/>
                <xsd:element ref="ns3:_dlc_DocIdUrl" minOccurs="0"/>
                <xsd:element ref="ns3:_dlc_DocIdPersistId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7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18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2d8773-0f30-405c-b193-40869fe1c1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hidden="true" ma:internalName="MediaServiceAutoTags" ma:readOnly="true">
      <xsd:simpleType>
        <xsd:restriction base="dms:Text"/>
      </xsd:simpleType>
    </xsd:element>
    <xsd:element name="MediaServiceOCR" ma:index="13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dd9f51-35c2-425f-bf6f-7b72bac0b14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hidden="true" ma:internalName="SharedWithDetails" ma:readOnly="true">
      <xsd:simpleType>
        <xsd:restriction base="dms:Note"/>
      </xsd:simpleType>
    </xsd:element>
    <xsd:element name="_dlc_DocId" ma:index="1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0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DF75440-66B0-41B2-8987-1DAC408BF7D5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102726BF-47C8-4881-BF30-F0933EE7FA85}">
  <ds:schemaRefs>
    <ds:schemaRef ds:uri="1edd9f51-35c2-425f-bf6f-7b72bac0b145"/>
    <ds:schemaRef ds:uri="a12d8773-0f30-405c-b193-40869fe1c1e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232E980-7A08-4408-97DB-3FB598C878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12d8773-0f30-405c-b193-40869fe1c1e6"/>
    <ds:schemaRef ds:uri="1edd9f51-35c2-425f-bf6f-7b72bac0b14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8851AEC2-EAF0-4445-A4D9-5B42CB8EBB0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3</TotalTime>
  <Words>465</Words>
  <Application>Microsoft Office PowerPoint</Application>
  <PresentationFormat>On-screen Show (16:9)</PresentationFormat>
  <Paragraphs>149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Calibri</vt:lpstr>
      <vt:lpstr>Myriad Web Pro</vt:lpstr>
      <vt:lpstr>Courier New</vt:lpstr>
      <vt:lpstr>Arial</vt:lpstr>
      <vt:lpstr>Wingdings</vt:lpstr>
      <vt:lpstr>Master</vt:lpstr>
      <vt:lpstr>think-cell Slide</vt:lpstr>
      <vt:lpstr>PowerPoint Presentation</vt:lpstr>
      <vt:lpstr>Counties by Percentage of Fully Vaccinated and 7-Day Case Rates for Ages 0 – 17 Years –  July 29 – August 4 , 2021 – based on Jenks Natural Breaks for Vaccine Coverage</vt:lpstr>
      <vt:lpstr>Counties by Percentage of Fully Vaccinated and 7-Day Case Rates for Ages 0 – 17 Years –  July 29 – August 4, 2021 – based on Quartiles for Vaccine Coverage</vt:lpstr>
    </vt:vector>
  </TitlesOfParts>
  <Company>CD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CoV_template_PPT_GEN_PUB</dc:title>
  <dc:creator>Centers for Disease Control and Prevention</dc:creator>
  <cp:lastModifiedBy>Toney, Taraesa (CDC/DDID/NCEZID/OD) (CTR)</cp:lastModifiedBy>
  <cp:revision>1</cp:revision>
  <dcterms:created xsi:type="dcterms:W3CDTF">2011-03-17T17:43:16Z</dcterms:created>
  <dcterms:modified xsi:type="dcterms:W3CDTF">2021-08-09T21:58:39Z</dcterms:modified>
  <cp:category>GS Emergency Response</cp:category>
  <cp:contentStatus>CS 315114-A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MSIP_Label_7b94a7b8-f06c-4dfe-bdcc-9b548fd58c31_Enabled">
    <vt:lpwstr>true</vt:lpwstr>
  </property>
  <property fmtid="{D5CDD505-2E9C-101B-9397-08002B2CF9AE}" pid="4" name="MSIP_Label_7b94a7b8-f06c-4dfe-bdcc-9b548fd58c31_SetDate">
    <vt:lpwstr>2021-03-19T20:28:31Z</vt:lpwstr>
  </property>
  <property fmtid="{D5CDD505-2E9C-101B-9397-08002B2CF9AE}" pid="5" name="MSIP_Label_7b94a7b8-f06c-4dfe-bdcc-9b548fd58c31_Method">
    <vt:lpwstr>Privileged</vt:lpwstr>
  </property>
  <property fmtid="{D5CDD505-2E9C-101B-9397-08002B2CF9AE}" pid="6" name="MSIP_Label_7b94a7b8-f06c-4dfe-bdcc-9b548fd58c31_Name">
    <vt:lpwstr>7b94a7b8-f06c-4dfe-bdcc-9b548fd58c31</vt:lpwstr>
  </property>
  <property fmtid="{D5CDD505-2E9C-101B-9397-08002B2CF9AE}" pid="7" name="MSIP_Label_7b94a7b8-f06c-4dfe-bdcc-9b548fd58c31_SiteId">
    <vt:lpwstr>9ce70869-60db-44fd-abe8-d2767077fc8f</vt:lpwstr>
  </property>
  <property fmtid="{D5CDD505-2E9C-101B-9397-08002B2CF9AE}" pid="8" name="MSIP_Label_7b94a7b8-f06c-4dfe-bdcc-9b548fd58c31_ActionId">
    <vt:lpwstr>a011fe3c-8b5d-4588-9f16-41b9a4c7e371</vt:lpwstr>
  </property>
  <property fmtid="{D5CDD505-2E9C-101B-9397-08002B2CF9AE}" pid="9" name="MSIP_Label_7b94a7b8-f06c-4dfe-bdcc-9b548fd58c31_ContentBits">
    <vt:lpwstr>0</vt:lpwstr>
  </property>
  <property fmtid="{D5CDD505-2E9C-101B-9397-08002B2CF9AE}" pid="10" name="ContentTypeId">
    <vt:lpwstr>0x010100421E03D7E06C234EB5626DEC4B2F4B58</vt:lpwstr>
  </property>
  <property fmtid="{D5CDD505-2E9C-101B-9397-08002B2CF9AE}" pid="11" name="_dlc_DocIdItemGuid">
    <vt:lpwstr>68d8d725-59dd-41f6-855c-5ac92bbba29f</vt:lpwstr>
  </property>
</Properties>
</file>